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68" r:id="rId1"/>
    <p:sldMasterId id="2147483876" r:id="rId2"/>
    <p:sldMasterId id="2147483888" r:id="rId3"/>
    <p:sldMasterId id="2147483900" r:id="rId4"/>
    <p:sldMasterId id="2147483908" r:id="rId5"/>
    <p:sldMasterId id="2147483920" r:id="rId6"/>
    <p:sldMasterId id="2147483926" r:id="rId7"/>
    <p:sldMasterId id="2147483938" r:id="rId8"/>
    <p:sldMasterId id="2147483950" r:id="rId9"/>
  </p:sldMasterIdLst>
  <p:notesMasterIdLst>
    <p:notesMasterId r:id="rId11"/>
  </p:notesMasterIdLst>
  <p:handoutMasterIdLst>
    <p:handoutMasterId r:id="rId12"/>
  </p:handoutMasterIdLst>
  <p:sldIdLst>
    <p:sldId id="422" r:id="rId10"/>
  </p:sldIdLst>
  <p:sldSz cx="10440988" cy="7561263"/>
  <p:notesSz cx="7099300" cy="10234613"/>
  <p:custDataLst>
    <p:tags r:id="rId13"/>
  </p:custDataLst>
  <p:defaultTextStyle>
    <a:defPPr>
      <a:defRPr lang="ru-RU"/>
    </a:defPPr>
    <a:lvl1pPr marL="0" algn="l" defTabSz="10263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3167" algn="l" defTabSz="10263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6340" algn="l" defTabSz="10263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9509" algn="l" defTabSz="10263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52671" algn="l" defTabSz="10263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65846" algn="l" defTabSz="10263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9014" algn="l" defTabSz="10263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92172" algn="l" defTabSz="10263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105347" algn="l" defTabSz="102634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 pos="85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FF9999"/>
    <a:srgbClr val="DEA900"/>
    <a:srgbClr val="FF7C80"/>
    <a:srgbClr val="FFFF66"/>
    <a:srgbClr val="C4F27A"/>
    <a:srgbClr val="DDF0C8"/>
    <a:srgbClr val="EAEAEA"/>
    <a:srgbClr val="D4E2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88" autoAdjust="0"/>
    <p:restoredTop sz="94430" autoAdjust="0"/>
  </p:normalViewPr>
  <p:slideViewPr>
    <p:cSldViewPr showGuides="1">
      <p:cViewPr>
        <p:scale>
          <a:sx n="114" d="100"/>
          <a:sy n="114" d="100"/>
        </p:scale>
        <p:origin x="-1038" y="168"/>
      </p:cViewPr>
      <p:guideLst>
        <p:guide orient="horz"/>
        <p:guide pos="85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75" d="100"/>
          <a:sy n="75" d="100"/>
        </p:scale>
        <p:origin x="-756" y="-84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3077080" cy="511567"/>
          </a:xfrm>
          <a:prstGeom prst="rect">
            <a:avLst/>
          </a:prstGeom>
        </p:spPr>
        <p:txBody>
          <a:bodyPr vert="horz" lIns="94710" tIns="47355" rIns="94710" bIns="47355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0567" y="4"/>
            <a:ext cx="3077079" cy="511567"/>
          </a:xfrm>
          <a:prstGeom prst="rect">
            <a:avLst/>
          </a:prstGeom>
        </p:spPr>
        <p:txBody>
          <a:bodyPr vert="horz" lIns="94710" tIns="47355" rIns="94710" bIns="47355" rtlCol="0"/>
          <a:lstStyle>
            <a:lvl1pPr algn="r">
              <a:defRPr sz="1100"/>
            </a:lvl1pPr>
          </a:lstStyle>
          <a:p>
            <a:fld id="{57D92055-C1E4-421B-B491-49718244DACA}" type="datetimeFigureOut">
              <a:rPr lang="ru-RU" smtClean="0"/>
              <a:pPr/>
              <a:t>09.09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721413"/>
            <a:ext cx="3077080" cy="511567"/>
          </a:xfrm>
          <a:prstGeom prst="rect">
            <a:avLst/>
          </a:prstGeom>
        </p:spPr>
        <p:txBody>
          <a:bodyPr vert="horz" lIns="94710" tIns="47355" rIns="94710" bIns="47355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0567" y="9721413"/>
            <a:ext cx="3077079" cy="511567"/>
          </a:xfrm>
          <a:prstGeom prst="rect">
            <a:avLst/>
          </a:prstGeom>
        </p:spPr>
        <p:txBody>
          <a:bodyPr vert="horz" lIns="94710" tIns="47355" rIns="94710" bIns="47355" rtlCol="0" anchor="b"/>
          <a:lstStyle>
            <a:lvl1pPr algn="r">
              <a:defRPr sz="1100"/>
            </a:lvl1pPr>
          </a:lstStyle>
          <a:p>
            <a:fld id="{6C8DD006-AA8A-4F51-81B1-094195B1AB5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2643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76363" cy="511731"/>
          </a:xfrm>
          <a:prstGeom prst="rect">
            <a:avLst/>
          </a:prstGeom>
        </p:spPr>
        <p:txBody>
          <a:bodyPr vert="horz" lIns="94710" tIns="47355" rIns="94710" bIns="47355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1296" y="1"/>
            <a:ext cx="3076363" cy="511731"/>
          </a:xfrm>
          <a:prstGeom prst="rect">
            <a:avLst/>
          </a:prstGeom>
        </p:spPr>
        <p:txBody>
          <a:bodyPr vert="horz" lIns="94710" tIns="47355" rIns="94710" bIns="47355" rtlCol="0"/>
          <a:lstStyle>
            <a:lvl1pPr algn="r">
              <a:defRPr sz="1100"/>
            </a:lvl1pPr>
          </a:lstStyle>
          <a:p>
            <a:fld id="{34AECA92-0D5F-452B-A9CA-F956B143AF1A}" type="datetimeFigureOut">
              <a:rPr lang="ru-RU" smtClean="0"/>
              <a:pPr/>
              <a:t>09.09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68350"/>
            <a:ext cx="5299075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10" tIns="47355" rIns="94710" bIns="4735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9931" y="4861444"/>
            <a:ext cx="5679440" cy="4605576"/>
          </a:xfrm>
          <a:prstGeom prst="rect">
            <a:avLst/>
          </a:prstGeom>
        </p:spPr>
        <p:txBody>
          <a:bodyPr vert="horz" lIns="94710" tIns="47355" rIns="94710" bIns="4735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721108"/>
            <a:ext cx="3076363" cy="511731"/>
          </a:xfrm>
          <a:prstGeom prst="rect">
            <a:avLst/>
          </a:prstGeom>
        </p:spPr>
        <p:txBody>
          <a:bodyPr vert="horz" lIns="94710" tIns="47355" rIns="94710" bIns="47355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1296" y="9721108"/>
            <a:ext cx="3076363" cy="511731"/>
          </a:xfrm>
          <a:prstGeom prst="rect">
            <a:avLst/>
          </a:prstGeom>
        </p:spPr>
        <p:txBody>
          <a:bodyPr vert="horz" lIns="94710" tIns="47355" rIns="94710" bIns="47355" rtlCol="0" anchor="b"/>
          <a:lstStyle>
            <a:lvl1pPr algn="r">
              <a:defRPr sz="1100"/>
            </a:lvl1pPr>
          </a:lstStyle>
          <a:p>
            <a:fld id="{2E0AC089-0FA5-42F9-97B8-96F48D42F54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18546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63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13167" algn="l" defTabSz="10263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26340" algn="l" defTabSz="10263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39509" algn="l" defTabSz="10263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52671" algn="l" defTabSz="10263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565846" algn="l" defTabSz="10263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079014" algn="l" defTabSz="10263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592172" algn="l" defTabSz="10263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05347" algn="l" defTabSz="102634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11.emf"/><Relationship Id="rId3" Type="http://schemas.openxmlformats.org/officeDocument/2006/relationships/tags" Target="../tags/tag6.xml"/><Relationship Id="rId21" Type="http://schemas.openxmlformats.org/officeDocument/2006/relationships/image" Target="../media/image13.pn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6" Type="http://schemas.openxmlformats.org/officeDocument/2006/relationships/slideMaster" Target="../slideMasters/slideMaster6.xml"/><Relationship Id="rId20" Type="http://schemas.openxmlformats.org/officeDocument/2006/relationships/image" Target="../media/image12.png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image" Target="../media/image2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image" Target="../media/image10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075884" y="385743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836169" y="41076"/>
            <a:ext cx="344025" cy="137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075908" y="560756"/>
            <a:ext cx="314990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075902" y="737569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rinted 24.04.2014 20:59 Russian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0" y="21"/>
            <a:ext cx="10437289" cy="756304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2186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92186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360" y="7248764"/>
            <a:ext cx="1906936" cy="216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075885" y="3493997"/>
            <a:ext cx="5750403" cy="569387"/>
          </a:xfrm>
          <a:prstGeom prst="rect">
            <a:avLst/>
          </a:prstGeom>
        </p:spPr>
        <p:txBody>
          <a:bodyPr/>
          <a:lstStyle>
            <a:lvl1pPr>
              <a:defRPr sz="3700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075885" y="4350316"/>
            <a:ext cx="5750403" cy="246221"/>
          </a:xfrm>
        </p:spPr>
        <p:txBody>
          <a:bodyPr>
            <a:sp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077404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21616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88630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0" y="301050"/>
            <a:ext cx="3435013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136" y="301051"/>
            <a:ext cx="5836802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50" y="1582265"/>
            <a:ext cx="3435013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59070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07" y="5292884"/>
            <a:ext cx="6264593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07" y="675613"/>
            <a:ext cx="6264593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07" y="5917739"/>
            <a:ext cx="6264593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109351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43598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0984" y="0"/>
            <a:ext cx="2403602" cy="691715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39" y="0"/>
            <a:ext cx="7042228" cy="691715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69703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786" y="323805"/>
            <a:ext cx="1912369" cy="1633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9691" y="2404902"/>
            <a:ext cx="9454895" cy="1137690"/>
          </a:xfrm>
          <a:ln/>
        </p:spPr>
        <p:txBody>
          <a:bodyPr/>
          <a:lstStyle>
            <a:lvl1pPr>
              <a:lnSpc>
                <a:spcPct val="130000"/>
              </a:lnSpc>
              <a:defRPr sz="198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9692" y="3621356"/>
            <a:ext cx="4274279" cy="715869"/>
          </a:xfrm>
          <a:ln/>
        </p:spPr>
        <p:txBody>
          <a:bodyPr anchor="ctr"/>
          <a:lstStyle>
            <a:lvl1pPr marL="0" indent="0">
              <a:buFontTx/>
              <a:buNone/>
              <a:defRPr sz="1544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6913487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80829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766" y="4858812"/>
            <a:ext cx="8874840" cy="1501751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766" y="3204786"/>
            <a:ext cx="8874840" cy="1654026"/>
          </a:xfrm>
        </p:spPr>
        <p:txBody>
          <a:bodyPr anchor="b"/>
          <a:lstStyle>
            <a:lvl1pPr marL="0" indent="0">
              <a:buNone/>
              <a:defRPr sz="2205"/>
            </a:lvl1pPr>
            <a:lvl2pPr marL="504063" indent="0">
              <a:buNone/>
              <a:defRPr sz="1985"/>
            </a:lvl2pPr>
            <a:lvl3pPr marL="1008126" indent="0">
              <a:buNone/>
              <a:defRPr sz="1764"/>
            </a:lvl3pPr>
            <a:lvl4pPr marL="1512189" indent="0">
              <a:buNone/>
              <a:defRPr sz="1544"/>
            </a:lvl4pPr>
            <a:lvl5pPr marL="2016252" indent="0">
              <a:buNone/>
              <a:defRPr sz="1544"/>
            </a:lvl5pPr>
            <a:lvl6pPr marL="2520315" indent="0">
              <a:buNone/>
              <a:defRPr sz="1544"/>
            </a:lvl6pPr>
            <a:lvl7pPr marL="3024378" indent="0">
              <a:buNone/>
              <a:defRPr sz="1544"/>
            </a:lvl7pPr>
            <a:lvl8pPr marL="3528441" indent="0">
              <a:buNone/>
              <a:defRPr sz="1544"/>
            </a:lvl8pPr>
            <a:lvl9pPr marL="4032504" indent="0">
              <a:buNone/>
              <a:defRPr sz="154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183010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739" y="1240958"/>
            <a:ext cx="4722009" cy="5676198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0764" y="1240958"/>
            <a:ext cx="4723822" cy="5676198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15413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7508" y="328097"/>
            <a:ext cx="9153986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431346" y="7109747"/>
            <a:ext cx="716005" cy="416569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80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4591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0" y="302801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49" y="1692533"/>
            <a:ext cx="4613250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49" y="2397901"/>
            <a:ext cx="4613250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33"/>
            <a:ext cx="4615062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005515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77685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68481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0" y="301050"/>
            <a:ext cx="3435013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136" y="301051"/>
            <a:ext cx="5836802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50" y="1582265"/>
            <a:ext cx="3435013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104654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07" y="5292884"/>
            <a:ext cx="6264593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07" y="675613"/>
            <a:ext cx="6264593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07" y="5917739"/>
            <a:ext cx="6264593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21809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67770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0984" y="0"/>
            <a:ext cx="2403602" cy="691715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39" y="0"/>
            <a:ext cx="7042228" cy="691715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765583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075884" y="385743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836169" y="41076"/>
            <a:ext cx="344025" cy="137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075908" y="560756"/>
            <a:ext cx="314990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Last Modified 25.04.2014 19:06 Russian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075902" y="737569"/>
            <a:ext cx="27956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rinted 24.04.2014 20:59 Russian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0" y="21"/>
            <a:ext cx="10437289" cy="756304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2186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92186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18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360" y="7248764"/>
            <a:ext cx="1906936" cy="216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075885" y="3493997"/>
            <a:ext cx="5750403" cy="569387"/>
          </a:xfrm>
          <a:prstGeom prst="rect">
            <a:avLst/>
          </a:prstGeom>
        </p:spPr>
        <p:txBody>
          <a:bodyPr/>
          <a:lstStyle>
            <a:lvl1pPr>
              <a:defRPr sz="3700" b="0"/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075885" y="4350316"/>
            <a:ext cx="5750403" cy="246221"/>
          </a:xfrm>
        </p:spPr>
        <p:txBody>
          <a:bodyPr>
            <a:spAutoFit/>
          </a:bodyPr>
          <a:lstStyle>
            <a:lvl1pPr>
              <a:defRPr sz="16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2678139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7508" y="328097"/>
            <a:ext cx="9153986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431346" y="7109747"/>
            <a:ext cx="716005" cy="416569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80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91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431346" y="7109747"/>
            <a:ext cx="716005" cy="416569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80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512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431346" y="7109747"/>
            <a:ext cx="716005" cy="416569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80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800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4604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9956399" y="7239811"/>
            <a:ext cx="243222" cy="1714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817383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22049" y="7008175"/>
            <a:ext cx="2436231" cy="40256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9139" y="7021046"/>
            <a:ext cx="6121565" cy="180026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100865" y="6841022"/>
            <a:ext cx="1980253" cy="37292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5758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660463" y="7035710"/>
            <a:ext cx="716005" cy="416570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719919" y="3780630"/>
            <a:ext cx="2880368" cy="963405"/>
          </a:xfrm>
        </p:spPr>
        <p:txBody>
          <a:bodyPr/>
          <a:lstStyle>
            <a:lvl1pPr>
              <a:spcAft>
                <a:spcPts val="573"/>
              </a:spcAft>
              <a:defRPr sz="1052"/>
            </a:lvl1pPr>
            <a:lvl2pPr marL="171873" indent="-171873">
              <a:spcAft>
                <a:spcPts val="573"/>
              </a:spcAft>
              <a:buFont typeface="Wingdings" panose="05000000000000000000" pitchFamily="2" charset="2"/>
              <a:buChar char="ü"/>
              <a:defRPr sz="1052"/>
            </a:lvl2pPr>
            <a:lvl3pPr>
              <a:defRPr sz="1052"/>
            </a:lvl3pPr>
            <a:lvl4pPr>
              <a:defRPr sz="1052"/>
            </a:lvl4pPr>
            <a:lvl5pPr>
              <a:defRPr sz="1052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719139" y="1800238"/>
            <a:ext cx="2880368" cy="161904"/>
          </a:xfrm>
        </p:spPr>
        <p:txBody>
          <a:bodyPr/>
          <a:lstStyle>
            <a:lvl1pPr marL="0" indent="0" algn="l">
              <a:spcBef>
                <a:spcPts val="0"/>
              </a:spcBef>
              <a:defRPr sz="1052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7200749" y="1800238"/>
            <a:ext cx="2880046" cy="161904"/>
          </a:xfrm>
        </p:spPr>
        <p:txBody>
          <a:bodyPr/>
          <a:lstStyle>
            <a:lvl1pPr marL="0" indent="0" algn="l">
              <a:spcBef>
                <a:spcPts val="0"/>
              </a:spcBef>
              <a:defRPr sz="1052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7200749" y="3780630"/>
            <a:ext cx="2880046" cy="963405"/>
          </a:xfrm>
        </p:spPr>
        <p:txBody>
          <a:bodyPr/>
          <a:lstStyle>
            <a:lvl1pPr>
              <a:spcAft>
                <a:spcPts val="573"/>
              </a:spcAft>
              <a:defRPr sz="1052"/>
            </a:lvl1pPr>
            <a:lvl2pPr marL="171873" indent="-171873">
              <a:spcAft>
                <a:spcPts val="573"/>
              </a:spcAft>
              <a:buFont typeface="Wingdings" panose="05000000000000000000" pitchFamily="2" charset="2"/>
              <a:buChar char="ü"/>
              <a:defRPr sz="1052"/>
            </a:lvl2pPr>
            <a:lvl3pPr>
              <a:defRPr sz="1052"/>
            </a:lvl3pPr>
            <a:lvl4pPr>
              <a:defRPr sz="1052"/>
            </a:lvl4pPr>
            <a:lvl5pPr>
              <a:defRPr sz="1052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71914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788" y="323805"/>
            <a:ext cx="1912369" cy="1633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9691" y="2404918"/>
            <a:ext cx="9454895" cy="1137690"/>
          </a:xfrm>
          <a:ln/>
        </p:spPr>
        <p:txBody>
          <a:bodyPr/>
          <a:lstStyle>
            <a:lvl1pPr>
              <a:lnSpc>
                <a:spcPct val="130000"/>
              </a:lnSpc>
              <a:defRPr sz="198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9692" y="3621357"/>
            <a:ext cx="4274279" cy="715869"/>
          </a:xfrm>
          <a:ln/>
        </p:spPr>
        <p:txBody>
          <a:bodyPr anchor="ctr"/>
          <a:lstStyle>
            <a:lvl1pPr marL="0" indent="0">
              <a:buFontTx/>
              <a:buNone/>
              <a:defRPr sz="1544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3398955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D866E4-7DE9-4C20-80A4-8AA77CB471FF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988496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766" y="4858828"/>
            <a:ext cx="8874840" cy="1501751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766" y="3204786"/>
            <a:ext cx="8874840" cy="1654026"/>
          </a:xfrm>
        </p:spPr>
        <p:txBody>
          <a:bodyPr anchor="b"/>
          <a:lstStyle>
            <a:lvl1pPr marL="0" indent="0">
              <a:buNone/>
              <a:defRPr sz="2205"/>
            </a:lvl1pPr>
            <a:lvl2pPr marL="504063" indent="0">
              <a:buNone/>
              <a:defRPr sz="1985"/>
            </a:lvl2pPr>
            <a:lvl3pPr marL="1008126" indent="0">
              <a:buNone/>
              <a:defRPr sz="1764"/>
            </a:lvl3pPr>
            <a:lvl4pPr marL="1512189" indent="0">
              <a:buNone/>
              <a:defRPr sz="1544"/>
            </a:lvl4pPr>
            <a:lvl5pPr marL="2016252" indent="0">
              <a:buNone/>
              <a:defRPr sz="1544"/>
            </a:lvl5pPr>
            <a:lvl6pPr marL="2520315" indent="0">
              <a:buNone/>
              <a:defRPr sz="1544"/>
            </a:lvl6pPr>
            <a:lvl7pPr marL="3024378" indent="0">
              <a:buNone/>
              <a:defRPr sz="1544"/>
            </a:lvl7pPr>
            <a:lvl8pPr marL="3528441" indent="0">
              <a:buNone/>
              <a:defRPr sz="1544"/>
            </a:lvl8pPr>
            <a:lvl9pPr marL="4032504" indent="0">
              <a:buNone/>
              <a:defRPr sz="154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630AF1-DDBA-4449-B800-2FFB69C6C625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293210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740" y="1240958"/>
            <a:ext cx="4722009" cy="5676198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0772" y="1240958"/>
            <a:ext cx="4723822" cy="5676198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A5763A-44FB-47F5-93F9-0FB873158708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85518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0" y="302801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49" y="1692533"/>
            <a:ext cx="4613250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49" y="2397901"/>
            <a:ext cx="4613250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85" y="1692533"/>
            <a:ext cx="4615062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3885" y="2397901"/>
            <a:ext cx="4615062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4448D0-1B5C-472B-BCB1-1160573D0794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00404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90E447-3DA1-4E69-A862-902C38201AEA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21461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AA2D4F-EB07-4484-9EB0-C6FDEE0A4D32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02817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9956399" y="7239811"/>
            <a:ext cx="243222" cy="1714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47878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2" y="301050"/>
            <a:ext cx="3435013" cy="1281214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136" y="301053"/>
            <a:ext cx="5836802" cy="6453328"/>
          </a:xfrm>
        </p:spPr>
        <p:txBody>
          <a:bodyPr/>
          <a:lstStyle>
            <a:lvl1pPr>
              <a:defRPr sz="3528"/>
            </a:lvl1pPr>
            <a:lvl2pPr>
              <a:defRPr sz="3087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52" y="1582267"/>
            <a:ext cx="3435013" cy="5172114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3D8D9B-19AE-4C83-A788-8DE69CE710A2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35951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07" y="5292884"/>
            <a:ext cx="6264593" cy="624855"/>
          </a:xfrm>
        </p:spPr>
        <p:txBody>
          <a:bodyPr anchor="b"/>
          <a:lstStyle>
            <a:lvl1pPr algn="l">
              <a:defRPr sz="220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07" y="675613"/>
            <a:ext cx="6264593" cy="4536758"/>
          </a:xfrm>
        </p:spPr>
        <p:txBody>
          <a:bodyPr/>
          <a:lstStyle>
            <a:lvl1pPr marL="0" indent="0">
              <a:buNone/>
              <a:defRPr sz="3528"/>
            </a:lvl1pPr>
            <a:lvl2pPr marL="504063" indent="0">
              <a:buNone/>
              <a:defRPr sz="3087"/>
            </a:lvl2pPr>
            <a:lvl3pPr marL="1008126" indent="0">
              <a:buNone/>
              <a:defRPr sz="2646"/>
            </a:lvl3pPr>
            <a:lvl4pPr marL="1512189" indent="0">
              <a:buNone/>
              <a:defRPr sz="2205"/>
            </a:lvl4pPr>
            <a:lvl5pPr marL="2016252" indent="0">
              <a:buNone/>
              <a:defRPr sz="2205"/>
            </a:lvl5pPr>
            <a:lvl6pPr marL="2520315" indent="0">
              <a:buNone/>
              <a:defRPr sz="2205"/>
            </a:lvl6pPr>
            <a:lvl7pPr marL="3024378" indent="0">
              <a:buNone/>
              <a:defRPr sz="2205"/>
            </a:lvl7pPr>
            <a:lvl8pPr marL="3528441" indent="0">
              <a:buNone/>
              <a:defRPr sz="2205"/>
            </a:lvl8pPr>
            <a:lvl9pPr marL="4032504" indent="0">
              <a:buNone/>
              <a:defRPr sz="220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07" y="5917739"/>
            <a:ext cx="6264593" cy="887398"/>
          </a:xfrm>
        </p:spPr>
        <p:txBody>
          <a:bodyPr/>
          <a:lstStyle>
            <a:lvl1pPr marL="0" indent="0">
              <a:buNone/>
              <a:defRPr sz="1544"/>
            </a:lvl1pPr>
            <a:lvl2pPr marL="504063" indent="0">
              <a:buNone/>
              <a:defRPr sz="1323"/>
            </a:lvl2pPr>
            <a:lvl3pPr marL="1008126" indent="0">
              <a:buNone/>
              <a:defRPr sz="1103"/>
            </a:lvl3pPr>
            <a:lvl4pPr marL="1512189" indent="0">
              <a:buNone/>
              <a:defRPr sz="992"/>
            </a:lvl4pPr>
            <a:lvl5pPr marL="2016252" indent="0">
              <a:buNone/>
              <a:defRPr sz="992"/>
            </a:lvl5pPr>
            <a:lvl6pPr marL="2520315" indent="0">
              <a:buNone/>
              <a:defRPr sz="992"/>
            </a:lvl6pPr>
            <a:lvl7pPr marL="3024378" indent="0">
              <a:buNone/>
              <a:defRPr sz="992"/>
            </a:lvl7pPr>
            <a:lvl8pPr marL="3528441" indent="0">
              <a:buNone/>
              <a:defRPr sz="992"/>
            </a:lvl8pPr>
            <a:lvl9pPr marL="4032504" indent="0">
              <a:buNone/>
              <a:defRPr sz="99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940452-0D65-44B0-AEA2-2EDE76FFB72C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21433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CD48B6-04E2-405D-9047-7519A802AEB0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480847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0984" y="0"/>
            <a:ext cx="2403602" cy="691715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41" y="0"/>
            <a:ext cx="7042228" cy="691715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57D01B-EF57-47F4-ABF3-0C2E40CAF301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970759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852" y="1788"/>
          <a:ext cx="1849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09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2" y="1788"/>
                        <a:ext cx="1849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75884" y="385743"/>
            <a:ext cx="1130118" cy="157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0812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836169" y="41075"/>
            <a:ext cx="344025" cy="137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100812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6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075884" y="560756"/>
            <a:ext cx="3590727" cy="157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0812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24" dirty="0">
                <a:solidFill>
                  <a:srgbClr val="000000"/>
                </a:solidFill>
              </a:rPr>
              <a:t>Last Modified 12.9.2014 2:19 PM Russia TZ 2 Standard Time</a:t>
            </a:r>
            <a:endParaRPr lang="ru-RU" sz="102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75886" y="737555"/>
            <a:ext cx="3223639" cy="157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0812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2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02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41594" y="5547333"/>
            <a:ext cx="5750405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0812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41594" y="5848640"/>
            <a:ext cx="5750405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0812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75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" y="1"/>
            <a:ext cx="10437288" cy="7561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2863" tIns="51431" rIns="102863" bIns="51431" anchor="ctr"/>
          <a:lstStyle/>
          <a:p>
            <a:pPr defTabSz="1008126" fontAlgn="base">
              <a:spcBef>
                <a:spcPct val="0"/>
              </a:spcBef>
              <a:spcAft>
                <a:spcPct val="0"/>
              </a:spcAft>
            </a:pPr>
            <a:endParaRPr lang="ru-RU" sz="1733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341" y="7248742"/>
            <a:ext cx="1906936" cy="216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1"/>
            </p:custDataLst>
          </p:nvPr>
        </p:nvSpPr>
        <p:spPr>
          <a:xfrm>
            <a:off x="2341592" y="3218761"/>
            <a:ext cx="5750404" cy="1119815"/>
          </a:xfrm>
          <a:prstGeom prst="rect">
            <a:avLst/>
          </a:prstGeom>
        </p:spPr>
        <p:txBody>
          <a:bodyPr/>
          <a:lstStyle>
            <a:lvl1pPr>
              <a:defRPr sz="362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2341592" y="4350316"/>
            <a:ext cx="5750404" cy="242362"/>
          </a:xfrm>
        </p:spPr>
        <p:txBody>
          <a:bodyPr>
            <a:spAutoFit/>
          </a:bodyPr>
          <a:lstStyle>
            <a:lvl1pPr>
              <a:defRPr sz="1575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235" y="5091442"/>
            <a:ext cx="6680753" cy="246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7" y="214302"/>
            <a:ext cx="10422493" cy="2075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0468" y="434819"/>
            <a:ext cx="1433440" cy="99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073459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956394" y="7239812"/>
            <a:ext cx="243223" cy="1714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1008126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788" smtClean="0">
                <a:solidFill>
                  <a:srgbClr val="000000"/>
                </a:solidFill>
              </a:rPr>
              <a:pPr defTabSz="100812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88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35290" y="371724"/>
            <a:ext cx="7784251" cy="32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18801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9956395" y="7239812"/>
            <a:ext cx="243223" cy="17144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008126" fontAlgn="base">
              <a:spcBef>
                <a:spcPct val="0"/>
              </a:spcBef>
              <a:spcAft>
                <a:spcPct val="0"/>
              </a:spcAft>
            </a:pPr>
            <a:fld id="{01030F74-A1BA-48BC-BF40-12D66AC8A7E1}" type="slidenum">
              <a:rPr lang="ru-RU" sz="1103" smtClean="0">
                <a:solidFill>
                  <a:srgbClr val="000000"/>
                </a:solidFill>
              </a:rPr>
              <a:pPr defTabSz="100812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103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9956395" y="7239812"/>
            <a:ext cx="243223" cy="17144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008126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103" smtClean="0">
                <a:solidFill>
                  <a:srgbClr val="000000"/>
                </a:solidFill>
              </a:rPr>
              <a:pPr defTabSz="100812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10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824798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956395" y="7239812"/>
            <a:ext cx="243223" cy="17144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008126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103" smtClean="0">
                <a:solidFill>
                  <a:srgbClr val="000000"/>
                </a:solidFill>
              </a:rPr>
              <a:pPr defTabSz="100812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10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449517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786" y="323805"/>
            <a:ext cx="1912369" cy="1633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9691" y="2776775"/>
            <a:ext cx="9454895" cy="393954"/>
          </a:xfrm>
          <a:ln/>
        </p:spPr>
        <p:txBody>
          <a:bodyPr/>
          <a:lstStyle>
            <a:lvl1pPr>
              <a:lnSpc>
                <a:spcPct val="130000"/>
              </a:lnSpc>
              <a:defRPr sz="196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9695" y="3858104"/>
            <a:ext cx="4274279" cy="242374"/>
          </a:xfrm>
          <a:ln/>
        </p:spPr>
        <p:txBody>
          <a:bodyPr anchor="ctr"/>
          <a:lstStyle>
            <a:lvl1pPr marL="0" indent="0">
              <a:buFontTx/>
              <a:buNone/>
              <a:defRPr sz="1575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3145174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788" y="323807"/>
            <a:ext cx="1912369" cy="1633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9691" y="2404904"/>
            <a:ext cx="9454895" cy="1137690"/>
          </a:xfrm>
          <a:ln/>
        </p:spPr>
        <p:txBody>
          <a:bodyPr/>
          <a:lstStyle>
            <a:lvl1pPr>
              <a:lnSpc>
                <a:spcPct val="130000"/>
              </a:lnSpc>
              <a:defRPr sz="202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9693" y="3621358"/>
            <a:ext cx="4274280" cy="715869"/>
          </a:xfrm>
          <a:ln/>
        </p:spPr>
        <p:txBody>
          <a:bodyPr anchor="ctr"/>
          <a:lstStyle>
            <a:lvl1pPr marL="0" indent="0">
              <a:buFontTx/>
              <a:buNone/>
              <a:defRPr sz="1575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92779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786" y="323805"/>
            <a:ext cx="1912369" cy="1633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9691" y="2404902"/>
            <a:ext cx="9454895" cy="1137690"/>
          </a:xfrm>
          <a:ln/>
        </p:spPr>
        <p:txBody>
          <a:bodyPr/>
          <a:lstStyle>
            <a:lvl1pPr>
              <a:lnSpc>
                <a:spcPct val="130000"/>
              </a:lnSpc>
              <a:defRPr sz="198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9692" y="3621356"/>
            <a:ext cx="4274279" cy="715869"/>
          </a:xfrm>
          <a:ln/>
        </p:spPr>
        <p:txBody>
          <a:bodyPr anchor="ctr"/>
          <a:lstStyle>
            <a:lvl1pPr marL="0" indent="0">
              <a:buFontTx/>
              <a:buNone/>
              <a:defRPr sz="1544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20758562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810919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767" y="4858812"/>
            <a:ext cx="8874839" cy="1501751"/>
          </a:xfrm>
        </p:spPr>
        <p:txBody>
          <a:bodyPr anchor="t"/>
          <a:lstStyle>
            <a:lvl1pPr algn="l">
              <a:defRPr sz="4387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767" y="3204786"/>
            <a:ext cx="8874839" cy="1654026"/>
          </a:xfrm>
        </p:spPr>
        <p:txBody>
          <a:bodyPr anchor="b"/>
          <a:lstStyle>
            <a:lvl1pPr marL="0" indent="0">
              <a:buNone/>
              <a:defRPr sz="2250"/>
            </a:lvl1pPr>
            <a:lvl2pPr marL="503965" indent="0">
              <a:buNone/>
              <a:defRPr sz="2025"/>
            </a:lvl2pPr>
            <a:lvl3pPr marL="1007930" indent="0">
              <a:buNone/>
              <a:defRPr sz="1800"/>
            </a:lvl3pPr>
            <a:lvl4pPr marL="1511895" indent="0">
              <a:buNone/>
              <a:defRPr sz="1575"/>
            </a:lvl4pPr>
            <a:lvl5pPr marL="2015859" indent="0">
              <a:buNone/>
              <a:defRPr sz="1575"/>
            </a:lvl5pPr>
            <a:lvl6pPr marL="2519824" indent="0">
              <a:buNone/>
              <a:defRPr sz="1575"/>
            </a:lvl6pPr>
            <a:lvl7pPr marL="3023789" indent="0">
              <a:buNone/>
              <a:defRPr sz="1575"/>
            </a:lvl7pPr>
            <a:lvl8pPr marL="3527754" indent="0">
              <a:buNone/>
              <a:defRPr sz="1575"/>
            </a:lvl8pPr>
            <a:lvl9pPr marL="4031718" indent="0">
              <a:buNone/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431069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741" y="1240960"/>
            <a:ext cx="4722009" cy="5676197"/>
          </a:xfrm>
        </p:spPr>
        <p:txBody>
          <a:bodyPr/>
          <a:lstStyle>
            <a:lvl1pPr>
              <a:defRPr sz="3037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0764" y="1240960"/>
            <a:ext cx="4723822" cy="5676197"/>
          </a:xfrm>
        </p:spPr>
        <p:txBody>
          <a:bodyPr/>
          <a:lstStyle>
            <a:lvl1pPr>
              <a:defRPr sz="3037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780865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0" y="302801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1" y="1692534"/>
            <a:ext cx="4613250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03965" indent="0">
              <a:buNone/>
              <a:defRPr sz="2250" b="1"/>
            </a:lvl2pPr>
            <a:lvl3pPr marL="1007930" indent="0">
              <a:buNone/>
              <a:defRPr sz="2025" b="1"/>
            </a:lvl3pPr>
            <a:lvl4pPr marL="1511895" indent="0">
              <a:buNone/>
              <a:defRPr sz="1800" b="1"/>
            </a:lvl4pPr>
            <a:lvl5pPr marL="2015859" indent="0">
              <a:buNone/>
              <a:defRPr sz="1800" b="1"/>
            </a:lvl5pPr>
            <a:lvl6pPr marL="2519824" indent="0">
              <a:buNone/>
              <a:defRPr sz="1800" b="1"/>
            </a:lvl6pPr>
            <a:lvl7pPr marL="3023789" indent="0">
              <a:buNone/>
              <a:defRPr sz="1800" b="1"/>
            </a:lvl7pPr>
            <a:lvl8pPr marL="3527754" indent="0">
              <a:buNone/>
              <a:defRPr sz="1800" b="1"/>
            </a:lvl8pPr>
            <a:lvl9pPr marL="4031718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51" y="2397901"/>
            <a:ext cx="4613250" cy="4356478"/>
          </a:xfrm>
        </p:spPr>
        <p:txBody>
          <a:bodyPr/>
          <a:lstStyle>
            <a:lvl1pPr>
              <a:defRPr sz="2700"/>
            </a:lvl1pPr>
            <a:lvl2pPr>
              <a:defRPr sz="225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9" y="1692534"/>
            <a:ext cx="4615062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03965" indent="0">
              <a:buNone/>
              <a:defRPr sz="2250" b="1"/>
            </a:lvl2pPr>
            <a:lvl3pPr marL="1007930" indent="0">
              <a:buNone/>
              <a:defRPr sz="2025" b="1"/>
            </a:lvl3pPr>
            <a:lvl4pPr marL="1511895" indent="0">
              <a:buNone/>
              <a:defRPr sz="1800" b="1"/>
            </a:lvl4pPr>
            <a:lvl5pPr marL="2015859" indent="0">
              <a:buNone/>
              <a:defRPr sz="1800" b="1"/>
            </a:lvl5pPr>
            <a:lvl6pPr marL="2519824" indent="0">
              <a:buNone/>
              <a:defRPr sz="1800" b="1"/>
            </a:lvl6pPr>
            <a:lvl7pPr marL="3023789" indent="0">
              <a:buNone/>
              <a:defRPr sz="1800" b="1"/>
            </a:lvl7pPr>
            <a:lvl8pPr marL="3527754" indent="0">
              <a:buNone/>
              <a:defRPr sz="1800" b="1"/>
            </a:lvl8pPr>
            <a:lvl9pPr marL="4031718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3879" y="2397901"/>
            <a:ext cx="4615062" cy="4356478"/>
          </a:xfrm>
        </p:spPr>
        <p:txBody>
          <a:bodyPr/>
          <a:lstStyle>
            <a:lvl1pPr>
              <a:defRPr sz="2700"/>
            </a:lvl1pPr>
            <a:lvl2pPr>
              <a:defRPr sz="225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401671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790787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198338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2" y="301051"/>
            <a:ext cx="3435013" cy="1281214"/>
          </a:xfrm>
        </p:spPr>
        <p:txBody>
          <a:bodyPr anchor="b"/>
          <a:lstStyle>
            <a:lvl1pPr algn="l">
              <a:defRPr sz="225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136" y="301053"/>
            <a:ext cx="5836803" cy="6453329"/>
          </a:xfrm>
        </p:spPr>
        <p:txBody>
          <a:bodyPr/>
          <a:lstStyle>
            <a:lvl1pPr>
              <a:defRPr sz="3487"/>
            </a:lvl1pPr>
            <a:lvl2pPr>
              <a:defRPr sz="3037"/>
            </a:lvl2pPr>
            <a:lvl3pPr>
              <a:defRPr sz="2700"/>
            </a:lvl3pPr>
            <a:lvl4pPr>
              <a:defRPr sz="2250"/>
            </a:lvl4pPr>
            <a:lvl5pPr>
              <a:defRPr sz="2250"/>
            </a:lvl5pPr>
            <a:lvl6pPr>
              <a:defRPr sz="2250"/>
            </a:lvl6pPr>
            <a:lvl7pPr>
              <a:defRPr sz="2250"/>
            </a:lvl7pPr>
            <a:lvl8pPr>
              <a:defRPr sz="2250"/>
            </a:lvl8pPr>
            <a:lvl9pPr>
              <a:defRPr sz="22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52" y="1582265"/>
            <a:ext cx="3435013" cy="5172114"/>
          </a:xfrm>
        </p:spPr>
        <p:txBody>
          <a:bodyPr/>
          <a:lstStyle>
            <a:lvl1pPr marL="0" indent="0">
              <a:buNone/>
              <a:defRPr sz="1575"/>
            </a:lvl1pPr>
            <a:lvl2pPr marL="503965" indent="0">
              <a:buNone/>
              <a:defRPr sz="1350"/>
            </a:lvl2pPr>
            <a:lvl3pPr marL="1007930" indent="0">
              <a:buNone/>
              <a:defRPr sz="1125"/>
            </a:lvl3pPr>
            <a:lvl4pPr marL="1511895" indent="0">
              <a:buNone/>
              <a:defRPr sz="1012"/>
            </a:lvl4pPr>
            <a:lvl5pPr marL="2015859" indent="0">
              <a:buNone/>
              <a:defRPr sz="1012"/>
            </a:lvl5pPr>
            <a:lvl6pPr marL="2519824" indent="0">
              <a:buNone/>
              <a:defRPr sz="1012"/>
            </a:lvl6pPr>
            <a:lvl7pPr marL="3023789" indent="0">
              <a:buNone/>
              <a:defRPr sz="1012"/>
            </a:lvl7pPr>
            <a:lvl8pPr marL="3527754" indent="0">
              <a:buNone/>
              <a:defRPr sz="1012"/>
            </a:lvl8pPr>
            <a:lvl9pPr marL="4031718" indent="0">
              <a:buNone/>
              <a:defRPr sz="10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729914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07" y="5292884"/>
            <a:ext cx="6264593" cy="624855"/>
          </a:xfrm>
        </p:spPr>
        <p:txBody>
          <a:bodyPr anchor="b"/>
          <a:lstStyle>
            <a:lvl1pPr algn="l">
              <a:defRPr sz="225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07" y="675613"/>
            <a:ext cx="6264593" cy="4536758"/>
          </a:xfrm>
        </p:spPr>
        <p:txBody>
          <a:bodyPr/>
          <a:lstStyle>
            <a:lvl1pPr marL="0" indent="0">
              <a:buNone/>
              <a:defRPr sz="3487"/>
            </a:lvl1pPr>
            <a:lvl2pPr marL="503965" indent="0">
              <a:buNone/>
              <a:defRPr sz="3037"/>
            </a:lvl2pPr>
            <a:lvl3pPr marL="1007930" indent="0">
              <a:buNone/>
              <a:defRPr sz="2700"/>
            </a:lvl3pPr>
            <a:lvl4pPr marL="1511895" indent="0">
              <a:buNone/>
              <a:defRPr sz="2250"/>
            </a:lvl4pPr>
            <a:lvl5pPr marL="2015859" indent="0">
              <a:buNone/>
              <a:defRPr sz="2250"/>
            </a:lvl5pPr>
            <a:lvl6pPr marL="2519824" indent="0">
              <a:buNone/>
              <a:defRPr sz="2250"/>
            </a:lvl6pPr>
            <a:lvl7pPr marL="3023789" indent="0">
              <a:buNone/>
              <a:defRPr sz="2250"/>
            </a:lvl7pPr>
            <a:lvl8pPr marL="3527754" indent="0">
              <a:buNone/>
              <a:defRPr sz="2250"/>
            </a:lvl8pPr>
            <a:lvl9pPr marL="4031718" indent="0">
              <a:buNone/>
              <a:defRPr sz="225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07" y="5917740"/>
            <a:ext cx="6264593" cy="887397"/>
          </a:xfrm>
        </p:spPr>
        <p:txBody>
          <a:bodyPr/>
          <a:lstStyle>
            <a:lvl1pPr marL="0" indent="0">
              <a:buNone/>
              <a:defRPr sz="1575"/>
            </a:lvl1pPr>
            <a:lvl2pPr marL="503965" indent="0">
              <a:buNone/>
              <a:defRPr sz="1350"/>
            </a:lvl2pPr>
            <a:lvl3pPr marL="1007930" indent="0">
              <a:buNone/>
              <a:defRPr sz="1125"/>
            </a:lvl3pPr>
            <a:lvl4pPr marL="1511895" indent="0">
              <a:buNone/>
              <a:defRPr sz="1012"/>
            </a:lvl4pPr>
            <a:lvl5pPr marL="2015859" indent="0">
              <a:buNone/>
              <a:defRPr sz="1012"/>
            </a:lvl5pPr>
            <a:lvl6pPr marL="2519824" indent="0">
              <a:buNone/>
              <a:defRPr sz="1012"/>
            </a:lvl6pPr>
            <a:lvl7pPr marL="3023789" indent="0">
              <a:buNone/>
              <a:defRPr sz="1012"/>
            </a:lvl7pPr>
            <a:lvl8pPr marL="3527754" indent="0">
              <a:buNone/>
              <a:defRPr sz="1012"/>
            </a:lvl8pPr>
            <a:lvl9pPr marL="4031718" indent="0">
              <a:buNone/>
              <a:defRPr sz="10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65077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308994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0983" y="1"/>
            <a:ext cx="2403603" cy="691715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40" y="1"/>
            <a:ext cx="7042229" cy="691715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43665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871195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788" y="323807"/>
            <a:ext cx="1912369" cy="1633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9691" y="2404904"/>
            <a:ext cx="9454895" cy="1137690"/>
          </a:xfrm>
          <a:ln/>
        </p:spPr>
        <p:txBody>
          <a:bodyPr/>
          <a:lstStyle>
            <a:lvl1pPr>
              <a:lnSpc>
                <a:spcPct val="130000"/>
              </a:lnSpc>
              <a:defRPr sz="202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9693" y="3621358"/>
            <a:ext cx="4274280" cy="715869"/>
          </a:xfrm>
          <a:ln/>
        </p:spPr>
        <p:txBody>
          <a:bodyPr anchor="ctr"/>
          <a:lstStyle>
            <a:lvl1pPr marL="0" indent="0">
              <a:buFontTx/>
              <a:buNone/>
              <a:defRPr sz="1575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2204341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09878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767" y="4858812"/>
            <a:ext cx="8874839" cy="1501751"/>
          </a:xfrm>
        </p:spPr>
        <p:txBody>
          <a:bodyPr anchor="t"/>
          <a:lstStyle>
            <a:lvl1pPr algn="l">
              <a:defRPr sz="4387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767" y="3204786"/>
            <a:ext cx="8874839" cy="1654026"/>
          </a:xfrm>
        </p:spPr>
        <p:txBody>
          <a:bodyPr anchor="b"/>
          <a:lstStyle>
            <a:lvl1pPr marL="0" indent="0">
              <a:buNone/>
              <a:defRPr sz="2250"/>
            </a:lvl1pPr>
            <a:lvl2pPr marL="503965" indent="0">
              <a:buNone/>
              <a:defRPr sz="2025"/>
            </a:lvl2pPr>
            <a:lvl3pPr marL="1007930" indent="0">
              <a:buNone/>
              <a:defRPr sz="1800"/>
            </a:lvl3pPr>
            <a:lvl4pPr marL="1511895" indent="0">
              <a:buNone/>
              <a:defRPr sz="1575"/>
            </a:lvl4pPr>
            <a:lvl5pPr marL="2015859" indent="0">
              <a:buNone/>
              <a:defRPr sz="1575"/>
            </a:lvl5pPr>
            <a:lvl6pPr marL="2519824" indent="0">
              <a:buNone/>
              <a:defRPr sz="1575"/>
            </a:lvl6pPr>
            <a:lvl7pPr marL="3023789" indent="0">
              <a:buNone/>
              <a:defRPr sz="1575"/>
            </a:lvl7pPr>
            <a:lvl8pPr marL="3527754" indent="0">
              <a:buNone/>
              <a:defRPr sz="1575"/>
            </a:lvl8pPr>
            <a:lvl9pPr marL="4031718" indent="0">
              <a:buNone/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514221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741" y="1240960"/>
            <a:ext cx="4722009" cy="5676197"/>
          </a:xfrm>
        </p:spPr>
        <p:txBody>
          <a:bodyPr/>
          <a:lstStyle>
            <a:lvl1pPr>
              <a:defRPr sz="3037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0764" y="1240960"/>
            <a:ext cx="4723822" cy="5676197"/>
          </a:xfrm>
        </p:spPr>
        <p:txBody>
          <a:bodyPr/>
          <a:lstStyle>
            <a:lvl1pPr>
              <a:defRPr sz="3037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279345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0" y="302801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1" y="1692534"/>
            <a:ext cx="4613250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03965" indent="0">
              <a:buNone/>
              <a:defRPr sz="2250" b="1"/>
            </a:lvl2pPr>
            <a:lvl3pPr marL="1007930" indent="0">
              <a:buNone/>
              <a:defRPr sz="2025" b="1"/>
            </a:lvl3pPr>
            <a:lvl4pPr marL="1511895" indent="0">
              <a:buNone/>
              <a:defRPr sz="1800" b="1"/>
            </a:lvl4pPr>
            <a:lvl5pPr marL="2015859" indent="0">
              <a:buNone/>
              <a:defRPr sz="1800" b="1"/>
            </a:lvl5pPr>
            <a:lvl6pPr marL="2519824" indent="0">
              <a:buNone/>
              <a:defRPr sz="1800" b="1"/>
            </a:lvl6pPr>
            <a:lvl7pPr marL="3023789" indent="0">
              <a:buNone/>
              <a:defRPr sz="1800" b="1"/>
            </a:lvl7pPr>
            <a:lvl8pPr marL="3527754" indent="0">
              <a:buNone/>
              <a:defRPr sz="1800" b="1"/>
            </a:lvl8pPr>
            <a:lvl9pPr marL="4031718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51" y="2397901"/>
            <a:ext cx="4613250" cy="4356478"/>
          </a:xfrm>
        </p:spPr>
        <p:txBody>
          <a:bodyPr/>
          <a:lstStyle>
            <a:lvl1pPr>
              <a:defRPr sz="2700"/>
            </a:lvl1pPr>
            <a:lvl2pPr>
              <a:defRPr sz="225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9" y="1692534"/>
            <a:ext cx="4615062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03965" indent="0">
              <a:buNone/>
              <a:defRPr sz="2250" b="1"/>
            </a:lvl2pPr>
            <a:lvl3pPr marL="1007930" indent="0">
              <a:buNone/>
              <a:defRPr sz="2025" b="1"/>
            </a:lvl3pPr>
            <a:lvl4pPr marL="1511895" indent="0">
              <a:buNone/>
              <a:defRPr sz="1800" b="1"/>
            </a:lvl4pPr>
            <a:lvl5pPr marL="2015859" indent="0">
              <a:buNone/>
              <a:defRPr sz="1800" b="1"/>
            </a:lvl5pPr>
            <a:lvl6pPr marL="2519824" indent="0">
              <a:buNone/>
              <a:defRPr sz="1800" b="1"/>
            </a:lvl6pPr>
            <a:lvl7pPr marL="3023789" indent="0">
              <a:buNone/>
              <a:defRPr sz="1800" b="1"/>
            </a:lvl7pPr>
            <a:lvl8pPr marL="3527754" indent="0">
              <a:buNone/>
              <a:defRPr sz="1800" b="1"/>
            </a:lvl8pPr>
            <a:lvl9pPr marL="4031718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3879" y="2397901"/>
            <a:ext cx="4615062" cy="4356478"/>
          </a:xfrm>
        </p:spPr>
        <p:txBody>
          <a:bodyPr/>
          <a:lstStyle>
            <a:lvl1pPr>
              <a:defRPr sz="2700"/>
            </a:lvl1pPr>
            <a:lvl2pPr>
              <a:defRPr sz="225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770574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625205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882445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2" y="301051"/>
            <a:ext cx="3435013" cy="1281214"/>
          </a:xfrm>
        </p:spPr>
        <p:txBody>
          <a:bodyPr anchor="b"/>
          <a:lstStyle>
            <a:lvl1pPr algn="l">
              <a:defRPr sz="225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136" y="301053"/>
            <a:ext cx="5836803" cy="6453329"/>
          </a:xfrm>
        </p:spPr>
        <p:txBody>
          <a:bodyPr/>
          <a:lstStyle>
            <a:lvl1pPr>
              <a:defRPr sz="3487"/>
            </a:lvl1pPr>
            <a:lvl2pPr>
              <a:defRPr sz="3037"/>
            </a:lvl2pPr>
            <a:lvl3pPr>
              <a:defRPr sz="2700"/>
            </a:lvl3pPr>
            <a:lvl4pPr>
              <a:defRPr sz="2250"/>
            </a:lvl4pPr>
            <a:lvl5pPr>
              <a:defRPr sz="2250"/>
            </a:lvl5pPr>
            <a:lvl6pPr>
              <a:defRPr sz="2250"/>
            </a:lvl6pPr>
            <a:lvl7pPr>
              <a:defRPr sz="2250"/>
            </a:lvl7pPr>
            <a:lvl8pPr>
              <a:defRPr sz="2250"/>
            </a:lvl8pPr>
            <a:lvl9pPr>
              <a:defRPr sz="22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52" y="1582265"/>
            <a:ext cx="3435013" cy="5172114"/>
          </a:xfrm>
        </p:spPr>
        <p:txBody>
          <a:bodyPr/>
          <a:lstStyle>
            <a:lvl1pPr marL="0" indent="0">
              <a:buNone/>
              <a:defRPr sz="1575"/>
            </a:lvl1pPr>
            <a:lvl2pPr marL="503965" indent="0">
              <a:buNone/>
              <a:defRPr sz="1350"/>
            </a:lvl2pPr>
            <a:lvl3pPr marL="1007930" indent="0">
              <a:buNone/>
              <a:defRPr sz="1125"/>
            </a:lvl3pPr>
            <a:lvl4pPr marL="1511895" indent="0">
              <a:buNone/>
              <a:defRPr sz="1012"/>
            </a:lvl4pPr>
            <a:lvl5pPr marL="2015859" indent="0">
              <a:buNone/>
              <a:defRPr sz="1012"/>
            </a:lvl5pPr>
            <a:lvl6pPr marL="2519824" indent="0">
              <a:buNone/>
              <a:defRPr sz="1012"/>
            </a:lvl6pPr>
            <a:lvl7pPr marL="3023789" indent="0">
              <a:buNone/>
              <a:defRPr sz="1012"/>
            </a:lvl7pPr>
            <a:lvl8pPr marL="3527754" indent="0">
              <a:buNone/>
              <a:defRPr sz="1012"/>
            </a:lvl8pPr>
            <a:lvl9pPr marL="4031718" indent="0">
              <a:buNone/>
              <a:defRPr sz="10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516203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07" y="5292884"/>
            <a:ext cx="6264593" cy="624855"/>
          </a:xfrm>
        </p:spPr>
        <p:txBody>
          <a:bodyPr anchor="b"/>
          <a:lstStyle>
            <a:lvl1pPr algn="l">
              <a:defRPr sz="225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07" y="675613"/>
            <a:ext cx="6264593" cy="4536758"/>
          </a:xfrm>
        </p:spPr>
        <p:txBody>
          <a:bodyPr/>
          <a:lstStyle>
            <a:lvl1pPr marL="0" indent="0">
              <a:buNone/>
              <a:defRPr sz="3487"/>
            </a:lvl1pPr>
            <a:lvl2pPr marL="503965" indent="0">
              <a:buNone/>
              <a:defRPr sz="3037"/>
            </a:lvl2pPr>
            <a:lvl3pPr marL="1007930" indent="0">
              <a:buNone/>
              <a:defRPr sz="2700"/>
            </a:lvl3pPr>
            <a:lvl4pPr marL="1511895" indent="0">
              <a:buNone/>
              <a:defRPr sz="2250"/>
            </a:lvl4pPr>
            <a:lvl5pPr marL="2015859" indent="0">
              <a:buNone/>
              <a:defRPr sz="2250"/>
            </a:lvl5pPr>
            <a:lvl6pPr marL="2519824" indent="0">
              <a:buNone/>
              <a:defRPr sz="2250"/>
            </a:lvl6pPr>
            <a:lvl7pPr marL="3023789" indent="0">
              <a:buNone/>
              <a:defRPr sz="2250"/>
            </a:lvl7pPr>
            <a:lvl8pPr marL="3527754" indent="0">
              <a:buNone/>
              <a:defRPr sz="2250"/>
            </a:lvl8pPr>
            <a:lvl9pPr marL="4031718" indent="0">
              <a:buNone/>
              <a:defRPr sz="225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07" y="5917740"/>
            <a:ext cx="6264593" cy="887397"/>
          </a:xfrm>
        </p:spPr>
        <p:txBody>
          <a:bodyPr/>
          <a:lstStyle>
            <a:lvl1pPr marL="0" indent="0">
              <a:buNone/>
              <a:defRPr sz="1575"/>
            </a:lvl1pPr>
            <a:lvl2pPr marL="503965" indent="0">
              <a:buNone/>
              <a:defRPr sz="1350"/>
            </a:lvl2pPr>
            <a:lvl3pPr marL="1007930" indent="0">
              <a:buNone/>
              <a:defRPr sz="1125"/>
            </a:lvl3pPr>
            <a:lvl4pPr marL="1511895" indent="0">
              <a:buNone/>
              <a:defRPr sz="1012"/>
            </a:lvl4pPr>
            <a:lvl5pPr marL="2015859" indent="0">
              <a:buNone/>
              <a:defRPr sz="1012"/>
            </a:lvl5pPr>
            <a:lvl6pPr marL="2519824" indent="0">
              <a:buNone/>
              <a:defRPr sz="1012"/>
            </a:lvl6pPr>
            <a:lvl7pPr marL="3023789" indent="0">
              <a:buNone/>
              <a:defRPr sz="1012"/>
            </a:lvl7pPr>
            <a:lvl8pPr marL="3527754" indent="0">
              <a:buNone/>
              <a:defRPr sz="1012"/>
            </a:lvl8pPr>
            <a:lvl9pPr marL="4031718" indent="0">
              <a:buNone/>
              <a:defRPr sz="10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163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86455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766" y="4858812"/>
            <a:ext cx="8874840" cy="1501751"/>
          </a:xfrm>
        </p:spPr>
        <p:txBody>
          <a:bodyPr anchor="t"/>
          <a:lstStyle>
            <a:lvl1pPr algn="l">
              <a:defRPr sz="441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766" y="3204786"/>
            <a:ext cx="8874840" cy="1654026"/>
          </a:xfrm>
        </p:spPr>
        <p:txBody>
          <a:bodyPr anchor="b"/>
          <a:lstStyle>
            <a:lvl1pPr marL="0" indent="0">
              <a:buNone/>
              <a:defRPr sz="2205"/>
            </a:lvl1pPr>
            <a:lvl2pPr marL="504063" indent="0">
              <a:buNone/>
              <a:defRPr sz="1985"/>
            </a:lvl2pPr>
            <a:lvl3pPr marL="1008126" indent="0">
              <a:buNone/>
              <a:defRPr sz="1764"/>
            </a:lvl3pPr>
            <a:lvl4pPr marL="1512189" indent="0">
              <a:buNone/>
              <a:defRPr sz="1544"/>
            </a:lvl4pPr>
            <a:lvl5pPr marL="2016252" indent="0">
              <a:buNone/>
              <a:defRPr sz="1544"/>
            </a:lvl5pPr>
            <a:lvl6pPr marL="2520315" indent="0">
              <a:buNone/>
              <a:defRPr sz="1544"/>
            </a:lvl6pPr>
            <a:lvl7pPr marL="3024378" indent="0">
              <a:buNone/>
              <a:defRPr sz="1544"/>
            </a:lvl7pPr>
            <a:lvl8pPr marL="3528441" indent="0">
              <a:buNone/>
              <a:defRPr sz="1544"/>
            </a:lvl8pPr>
            <a:lvl9pPr marL="4032504" indent="0">
              <a:buNone/>
              <a:defRPr sz="154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215646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0983" y="1"/>
            <a:ext cx="2403603" cy="691715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40" y="1"/>
            <a:ext cx="7042229" cy="691715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872339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788" y="323807"/>
            <a:ext cx="1912369" cy="1633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9691" y="2404904"/>
            <a:ext cx="9454895" cy="1137690"/>
          </a:xfrm>
          <a:ln/>
        </p:spPr>
        <p:txBody>
          <a:bodyPr/>
          <a:lstStyle>
            <a:lvl1pPr>
              <a:lnSpc>
                <a:spcPct val="130000"/>
              </a:lnSpc>
              <a:defRPr sz="202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99693" y="3621358"/>
            <a:ext cx="4274280" cy="715869"/>
          </a:xfrm>
          <a:ln/>
        </p:spPr>
        <p:txBody>
          <a:bodyPr anchor="ctr"/>
          <a:lstStyle>
            <a:lvl1pPr marL="0" indent="0">
              <a:buFontTx/>
              <a:buNone/>
              <a:defRPr sz="1575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2609165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090196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4767" y="4858812"/>
            <a:ext cx="8874839" cy="1501751"/>
          </a:xfrm>
        </p:spPr>
        <p:txBody>
          <a:bodyPr anchor="t"/>
          <a:lstStyle>
            <a:lvl1pPr algn="l">
              <a:defRPr sz="4387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24767" y="3204786"/>
            <a:ext cx="8874839" cy="1654026"/>
          </a:xfrm>
        </p:spPr>
        <p:txBody>
          <a:bodyPr anchor="b"/>
          <a:lstStyle>
            <a:lvl1pPr marL="0" indent="0">
              <a:buNone/>
              <a:defRPr sz="2250"/>
            </a:lvl1pPr>
            <a:lvl2pPr marL="503965" indent="0">
              <a:buNone/>
              <a:defRPr sz="2025"/>
            </a:lvl2pPr>
            <a:lvl3pPr marL="1007930" indent="0">
              <a:buNone/>
              <a:defRPr sz="1800"/>
            </a:lvl3pPr>
            <a:lvl4pPr marL="1511895" indent="0">
              <a:buNone/>
              <a:defRPr sz="1575"/>
            </a:lvl4pPr>
            <a:lvl5pPr marL="2015859" indent="0">
              <a:buNone/>
              <a:defRPr sz="1575"/>
            </a:lvl5pPr>
            <a:lvl6pPr marL="2519824" indent="0">
              <a:buNone/>
              <a:defRPr sz="1575"/>
            </a:lvl6pPr>
            <a:lvl7pPr marL="3023789" indent="0">
              <a:buNone/>
              <a:defRPr sz="1575"/>
            </a:lvl7pPr>
            <a:lvl8pPr marL="3527754" indent="0">
              <a:buNone/>
              <a:defRPr sz="1575"/>
            </a:lvl8pPr>
            <a:lvl9pPr marL="4031718" indent="0">
              <a:buNone/>
              <a:defRPr sz="15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361033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741" y="1240960"/>
            <a:ext cx="4722009" cy="5676197"/>
          </a:xfrm>
        </p:spPr>
        <p:txBody>
          <a:bodyPr/>
          <a:lstStyle>
            <a:lvl1pPr>
              <a:defRPr sz="3037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0764" y="1240960"/>
            <a:ext cx="4723822" cy="5676197"/>
          </a:xfrm>
        </p:spPr>
        <p:txBody>
          <a:bodyPr/>
          <a:lstStyle>
            <a:lvl1pPr>
              <a:defRPr sz="3037"/>
            </a:lvl1pPr>
            <a:lvl2pPr>
              <a:defRPr sz="2700"/>
            </a:lvl2pPr>
            <a:lvl3pPr>
              <a:defRPr sz="2250"/>
            </a:lvl3pPr>
            <a:lvl4pPr>
              <a:defRPr sz="2025"/>
            </a:lvl4pPr>
            <a:lvl5pPr>
              <a:defRPr sz="2025"/>
            </a:lvl5pPr>
            <a:lvl6pPr>
              <a:defRPr sz="2025"/>
            </a:lvl6pPr>
            <a:lvl7pPr>
              <a:defRPr sz="2025"/>
            </a:lvl7pPr>
            <a:lvl8pPr>
              <a:defRPr sz="2025"/>
            </a:lvl8pPr>
            <a:lvl9pPr>
              <a:defRPr sz="20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196448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0" y="302801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51" y="1692534"/>
            <a:ext cx="4613250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03965" indent="0">
              <a:buNone/>
              <a:defRPr sz="2250" b="1"/>
            </a:lvl2pPr>
            <a:lvl3pPr marL="1007930" indent="0">
              <a:buNone/>
              <a:defRPr sz="2025" b="1"/>
            </a:lvl3pPr>
            <a:lvl4pPr marL="1511895" indent="0">
              <a:buNone/>
              <a:defRPr sz="1800" b="1"/>
            </a:lvl4pPr>
            <a:lvl5pPr marL="2015859" indent="0">
              <a:buNone/>
              <a:defRPr sz="1800" b="1"/>
            </a:lvl5pPr>
            <a:lvl6pPr marL="2519824" indent="0">
              <a:buNone/>
              <a:defRPr sz="1800" b="1"/>
            </a:lvl6pPr>
            <a:lvl7pPr marL="3023789" indent="0">
              <a:buNone/>
              <a:defRPr sz="1800" b="1"/>
            </a:lvl7pPr>
            <a:lvl8pPr marL="3527754" indent="0">
              <a:buNone/>
              <a:defRPr sz="1800" b="1"/>
            </a:lvl8pPr>
            <a:lvl9pPr marL="4031718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51" y="2397901"/>
            <a:ext cx="4613250" cy="4356478"/>
          </a:xfrm>
        </p:spPr>
        <p:txBody>
          <a:bodyPr/>
          <a:lstStyle>
            <a:lvl1pPr>
              <a:defRPr sz="2700"/>
            </a:lvl1pPr>
            <a:lvl2pPr>
              <a:defRPr sz="225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9" y="1692534"/>
            <a:ext cx="4615062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03965" indent="0">
              <a:buNone/>
              <a:defRPr sz="2250" b="1"/>
            </a:lvl2pPr>
            <a:lvl3pPr marL="1007930" indent="0">
              <a:buNone/>
              <a:defRPr sz="2025" b="1"/>
            </a:lvl3pPr>
            <a:lvl4pPr marL="1511895" indent="0">
              <a:buNone/>
              <a:defRPr sz="1800" b="1"/>
            </a:lvl4pPr>
            <a:lvl5pPr marL="2015859" indent="0">
              <a:buNone/>
              <a:defRPr sz="1800" b="1"/>
            </a:lvl5pPr>
            <a:lvl6pPr marL="2519824" indent="0">
              <a:buNone/>
              <a:defRPr sz="1800" b="1"/>
            </a:lvl6pPr>
            <a:lvl7pPr marL="3023789" indent="0">
              <a:buNone/>
              <a:defRPr sz="1800" b="1"/>
            </a:lvl7pPr>
            <a:lvl8pPr marL="3527754" indent="0">
              <a:buNone/>
              <a:defRPr sz="1800" b="1"/>
            </a:lvl8pPr>
            <a:lvl9pPr marL="4031718" indent="0">
              <a:buNone/>
              <a:defRPr sz="18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3879" y="2397901"/>
            <a:ext cx="4615062" cy="4356478"/>
          </a:xfrm>
        </p:spPr>
        <p:txBody>
          <a:bodyPr/>
          <a:lstStyle>
            <a:lvl1pPr>
              <a:defRPr sz="2700"/>
            </a:lvl1pPr>
            <a:lvl2pPr>
              <a:defRPr sz="2250"/>
            </a:lvl2pPr>
            <a:lvl3pPr>
              <a:defRPr sz="2025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56506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140215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09602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2" y="301051"/>
            <a:ext cx="3435013" cy="1281214"/>
          </a:xfrm>
        </p:spPr>
        <p:txBody>
          <a:bodyPr anchor="b"/>
          <a:lstStyle>
            <a:lvl1pPr algn="l">
              <a:defRPr sz="225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82136" y="301053"/>
            <a:ext cx="5836803" cy="6453329"/>
          </a:xfrm>
        </p:spPr>
        <p:txBody>
          <a:bodyPr/>
          <a:lstStyle>
            <a:lvl1pPr>
              <a:defRPr sz="3487"/>
            </a:lvl1pPr>
            <a:lvl2pPr>
              <a:defRPr sz="3037"/>
            </a:lvl2pPr>
            <a:lvl3pPr>
              <a:defRPr sz="2700"/>
            </a:lvl3pPr>
            <a:lvl4pPr>
              <a:defRPr sz="2250"/>
            </a:lvl4pPr>
            <a:lvl5pPr>
              <a:defRPr sz="2250"/>
            </a:lvl5pPr>
            <a:lvl6pPr>
              <a:defRPr sz="2250"/>
            </a:lvl6pPr>
            <a:lvl7pPr>
              <a:defRPr sz="2250"/>
            </a:lvl7pPr>
            <a:lvl8pPr>
              <a:defRPr sz="2250"/>
            </a:lvl8pPr>
            <a:lvl9pPr>
              <a:defRPr sz="22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22052" y="1582265"/>
            <a:ext cx="3435013" cy="5172114"/>
          </a:xfrm>
        </p:spPr>
        <p:txBody>
          <a:bodyPr/>
          <a:lstStyle>
            <a:lvl1pPr marL="0" indent="0">
              <a:buNone/>
              <a:defRPr sz="1575"/>
            </a:lvl1pPr>
            <a:lvl2pPr marL="503965" indent="0">
              <a:buNone/>
              <a:defRPr sz="1350"/>
            </a:lvl2pPr>
            <a:lvl3pPr marL="1007930" indent="0">
              <a:buNone/>
              <a:defRPr sz="1125"/>
            </a:lvl3pPr>
            <a:lvl4pPr marL="1511895" indent="0">
              <a:buNone/>
              <a:defRPr sz="1012"/>
            </a:lvl4pPr>
            <a:lvl5pPr marL="2015859" indent="0">
              <a:buNone/>
              <a:defRPr sz="1012"/>
            </a:lvl5pPr>
            <a:lvl6pPr marL="2519824" indent="0">
              <a:buNone/>
              <a:defRPr sz="1012"/>
            </a:lvl6pPr>
            <a:lvl7pPr marL="3023789" indent="0">
              <a:buNone/>
              <a:defRPr sz="1012"/>
            </a:lvl7pPr>
            <a:lvl8pPr marL="3527754" indent="0">
              <a:buNone/>
              <a:defRPr sz="1012"/>
            </a:lvl8pPr>
            <a:lvl9pPr marL="4031718" indent="0">
              <a:buNone/>
              <a:defRPr sz="10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232650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6507" y="5292884"/>
            <a:ext cx="6264593" cy="624855"/>
          </a:xfrm>
        </p:spPr>
        <p:txBody>
          <a:bodyPr anchor="b"/>
          <a:lstStyle>
            <a:lvl1pPr algn="l">
              <a:defRPr sz="225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46507" y="675613"/>
            <a:ext cx="6264593" cy="4536758"/>
          </a:xfrm>
        </p:spPr>
        <p:txBody>
          <a:bodyPr/>
          <a:lstStyle>
            <a:lvl1pPr marL="0" indent="0">
              <a:buNone/>
              <a:defRPr sz="3487"/>
            </a:lvl1pPr>
            <a:lvl2pPr marL="503965" indent="0">
              <a:buNone/>
              <a:defRPr sz="3037"/>
            </a:lvl2pPr>
            <a:lvl3pPr marL="1007930" indent="0">
              <a:buNone/>
              <a:defRPr sz="2700"/>
            </a:lvl3pPr>
            <a:lvl4pPr marL="1511895" indent="0">
              <a:buNone/>
              <a:defRPr sz="2250"/>
            </a:lvl4pPr>
            <a:lvl5pPr marL="2015859" indent="0">
              <a:buNone/>
              <a:defRPr sz="2250"/>
            </a:lvl5pPr>
            <a:lvl6pPr marL="2519824" indent="0">
              <a:buNone/>
              <a:defRPr sz="2250"/>
            </a:lvl6pPr>
            <a:lvl7pPr marL="3023789" indent="0">
              <a:buNone/>
              <a:defRPr sz="2250"/>
            </a:lvl7pPr>
            <a:lvl8pPr marL="3527754" indent="0">
              <a:buNone/>
              <a:defRPr sz="2250"/>
            </a:lvl8pPr>
            <a:lvl9pPr marL="4031718" indent="0">
              <a:buNone/>
              <a:defRPr sz="225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46507" y="5917740"/>
            <a:ext cx="6264593" cy="887397"/>
          </a:xfrm>
        </p:spPr>
        <p:txBody>
          <a:bodyPr/>
          <a:lstStyle>
            <a:lvl1pPr marL="0" indent="0">
              <a:buNone/>
              <a:defRPr sz="1575"/>
            </a:lvl1pPr>
            <a:lvl2pPr marL="503965" indent="0">
              <a:buNone/>
              <a:defRPr sz="1350"/>
            </a:lvl2pPr>
            <a:lvl3pPr marL="1007930" indent="0">
              <a:buNone/>
              <a:defRPr sz="1125"/>
            </a:lvl3pPr>
            <a:lvl4pPr marL="1511895" indent="0">
              <a:buNone/>
              <a:defRPr sz="1012"/>
            </a:lvl4pPr>
            <a:lvl5pPr marL="2015859" indent="0">
              <a:buNone/>
              <a:defRPr sz="1012"/>
            </a:lvl5pPr>
            <a:lvl6pPr marL="2519824" indent="0">
              <a:buNone/>
              <a:defRPr sz="1012"/>
            </a:lvl6pPr>
            <a:lvl7pPr marL="3023789" indent="0">
              <a:buNone/>
              <a:defRPr sz="1012"/>
            </a:lvl7pPr>
            <a:lvl8pPr marL="3527754" indent="0">
              <a:buNone/>
              <a:defRPr sz="1012"/>
            </a:lvl8pPr>
            <a:lvl9pPr marL="4031718" indent="0">
              <a:buNone/>
              <a:defRPr sz="10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83782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739" y="1240958"/>
            <a:ext cx="4722009" cy="5676198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30764" y="1240958"/>
            <a:ext cx="4723822" cy="5676198"/>
          </a:xfrm>
        </p:spPr>
        <p:txBody>
          <a:bodyPr/>
          <a:lstStyle>
            <a:lvl1pPr>
              <a:defRPr sz="3087"/>
            </a:lvl1pPr>
            <a:lvl2pPr>
              <a:defRPr sz="2646"/>
            </a:lvl2pPr>
            <a:lvl3pPr>
              <a:defRPr sz="2205"/>
            </a:lvl3pPr>
            <a:lvl4pPr>
              <a:defRPr sz="1985"/>
            </a:lvl4pPr>
            <a:lvl5pPr>
              <a:defRPr sz="1985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0306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730781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50983" y="1"/>
            <a:ext cx="2403603" cy="691715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4740" y="1"/>
            <a:ext cx="7042229" cy="691715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35161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050" y="302801"/>
            <a:ext cx="9396889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22049" y="1692533"/>
            <a:ext cx="4613250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2049" y="2397901"/>
            <a:ext cx="4613250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303877" y="1692533"/>
            <a:ext cx="4615062" cy="705367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063" indent="0">
              <a:buNone/>
              <a:defRPr sz="2205" b="1"/>
            </a:lvl2pPr>
            <a:lvl3pPr marL="1008126" indent="0">
              <a:buNone/>
              <a:defRPr sz="1985" b="1"/>
            </a:lvl3pPr>
            <a:lvl4pPr marL="1512189" indent="0">
              <a:buNone/>
              <a:defRPr sz="1764" b="1"/>
            </a:lvl4pPr>
            <a:lvl5pPr marL="2016252" indent="0">
              <a:buNone/>
              <a:defRPr sz="1764" b="1"/>
            </a:lvl5pPr>
            <a:lvl6pPr marL="2520315" indent="0">
              <a:buNone/>
              <a:defRPr sz="1764" b="1"/>
            </a:lvl6pPr>
            <a:lvl7pPr marL="3024378" indent="0">
              <a:buNone/>
              <a:defRPr sz="1764" b="1"/>
            </a:lvl7pPr>
            <a:lvl8pPr marL="3528441" indent="0">
              <a:buNone/>
              <a:defRPr sz="1764" b="1"/>
            </a:lvl8pPr>
            <a:lvl9pPr marL="4032504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303877" y="2397901"/>
            <a:ext cx="4615062" cy="4356478"/>
          </a:xfrm>
        </p:spPr>
        <p:txBody>
          <a:bodyPr/>
          <a:lstStyle>
            <a:lvl1pPr>
              <a:defRPr sz="2646"/>
            </a:lvl1pPr>
            <a:lvl2pPr>
              <a:defRPr sz="2205"/>
            </a:lvl2pPr>
            <a:lvl3pPr>
              <a:defRPr sz="1985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53668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1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30.xml"/><Relationship Id="rId9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9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46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theme" Target="../theme/theme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4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7.xml"/><Relationship Id="rId9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4.jpe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5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4.jpe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5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14.jpe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37967820"/>
              </p:ext>
            </p:extLst>
          </p:nvPr>
        </p:nvGraphicFramePr>
        <p:xfrm>
          <a:off x="0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9249549" y="2181148"/>
            <a:ext cx="222016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Last Modified 25.04.2014 19:06 Russian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9374561" y="4626564"/>
            <a:ext cx="1970091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Printed 24.04.2014 20:59 Russian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92390" y="2194803"/>
            <a:ext cx="5012414" cy="1384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7506" y="328097"/>
            <a:ext cx="907203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505" y="30360"/>
            <a:ext cx="9762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8743" y="1043737"/>
            <a:ext cx="10041473" cy="276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8721" y="6908302"/>
            <a:ext cx="9960091" cy="171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8720" y="7253206"/>
            <a:ext cx="7995817" cy="171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98218" indent="-698218" defTabSz="1025505" fontAlgn="base">
              <a:spcBef>
                <a:spcPct val="0"/>
              </a:spcBef>
              <a:spcAft>
                <a:spcPct val="0"/>
              </a:spcAft>
              <a:tabLst>
                <a:tab pos="701853" algn="l"/>
              </a:tabLst>
            </a:pPr>
            <a:r>
              <a:rPr lang="ru-RU" sz="11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92396" y="1267949"/>
            <a:ext cx="4968023" cy="57147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8720" y="7116588"/>
            <a:ext cx="1015297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4730" tIns="104730" rIns="104730" bIns="104730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47506" y="994716"/>
            <a:ext cx="10145977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4730" tIns="104730" rIns="104730" bIns="104730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9956399" y="7239811"/>
            <a:ext cx="243222" cy="1714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35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</p:sldLayoutIdLst>
  <p:hf hdr="0" dt="0"/>
  <p:txStyles>
    <p:titleStyle>
      <a:lvl1pPr algn="l" defTabSz="1025505" rtl="0" eaLnBrk="1" fontAlgn="base" hangingPunct="1">
        <a:spcBef>
          <a:spcPct val="0"/>
        </a:spcBef>
        <a:spcAft>
          <a:spcPct val="0"/>
        </a:spcAft>
        <a:tabLst>
          <a:tab pos="409112" algn="l"/>
        </a:tabLs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523649"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1047326"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570989"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2094651"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21831" indent="-220013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+mn-lt"/>
        </a:defRPr>
      </a:lvl2pPr>
      <a:lvl3pPr marL="523649" indent="-30001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+mn-lt"/>
        </a:defRPr>
      </a:lvl3pPr>
      <a:lvl4pPr marL="703674" indent="-178194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+mn-lt"/>
        </a:defRPr>
      </a:lvl4pPr>
      <a:lvl5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5pPr>
      <a:lvl6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3649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7326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70989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94651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18313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41975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65637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89302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31330" y="7109688"/>
            <a:ext cx="716005" cy="41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26" b="1">
                <a:solidFill>
                  <a:schemeClr val="hlink"/>
                </a:solidFill>
              </a:defRPr>
            </a:lvl1pPr>
          </a:lstStyle>
          <a:p>
            <a:pPr defTabSz="1008126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100812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739" y="1240958"/>
            <a:ext cx="9619847" cy="5676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34739" y="1"/>
            <a:ext cx="8715325" cy="106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1303" y="117270"/>
            <a:ext cx="1013283" cy="866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7306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99525" indent="-19952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764">
          <a:solidFill>
            <a:schemeClr val="tx1"/>
          </a:solidFill>
          <a:latin typeface="+mn-lt"/>
          <a:ea typeface="+mn-ea"/>
          <a:cs typeface="+mn-cs"/>
        </a:defRPr>
      </a:lvl1pPr>
      <a:lvl2pPr marL="397300" indent="-19602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44">
          <a:solidFill>
            <a:schemeClr val="tx1"/>
          </a:solidFill>
          <a:latin typeface="+mn-lt"/>
          <a:cs typeface="+mn-cs"/>
        </a:defRPr>
      </a:lvl2pPr>
      <a:lvl3pPr marL="1281160" indent="-2957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426">
          <a:solidFill>
            <a:schemeClr val="tx1"/>
          </a:solidFill>
          <a:latin typeface="+mn-lt"/>
          <a:cs typeface="+mn-cs"/>
        </a:defRPr>
      </a:lvl3pPr>
      <a:lvl4pPr marL="1835980" indent="-252032" algn="l" rtl="0" eaLnBrk="0" fontAlgn="base" hangingPunct="0">
        <a:spcBef>
          <a:spcPct val="20000"/>
        </a:spcBef>
        <a:spcAft>
          <a:spcPct val="0"/>
        </a:spcAft>
        <a:buChar char="–"/>
        <a:defRPr sz="2205">
          <a:solidFill>
            <a:schemeClr val="tx1"/>
          </a:solidFill>
          <a:latin typeface="+mn-lt"/>
          <a:cs typeface="+mn-cs"/>
        </a:defRPr>
      </a:lvl4pPr>
      <a:lvl5pPr marL="2285786" indent="-252032" algn="l" rtl="0" eaLnBrk="0" fontAlgn="base" hangingPunct="0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5pPr>
      <a:lvl6pPr marL="2789849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6pPr>
      <a:lvl7pPr marL="3293912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7pPr>
      <a:lvl8pPr marL="3797975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8pPr>
      <a:lvl9pPr marL="4302038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31330" y="7109688"/>
            <a:ext cx="716005" cy="41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26" b="1">
                <a:solidFill>
                  <a:schemeClr val="hlink"/>
                </a:solidFill>
              </a:defRPr>
            </a:lvl1pPr>
          </a:lstStyle>
          <a:p>
            <a:pPr defTabSz="1008126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100812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739" y="1240958"/>
            <a:ext cx="9619847" cy="5676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34739" y="1"/>
            <a:ext cx="8715325" cy="106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1303" y="117270"/>
            <a:ext cx="1013283" cy="866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3502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99525" indent="-19952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764">
          <a:solidFill>
            <a:schemeClr val="tx1"/>
          </a:solidFill>
          <a:latin typeface="+mn-lt"/>
          <a:ea typeface="+mn-ea"/>
          <a:cs typeface="+mn-cs"/>
        </a:defRPr>
      </a:lvl1pPr>
      <a:lvl2pPr marL="397300" indent="-19602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44">
          <a:solidFill>
            <a:schemeClr val="tx1"/>
          </a:solidFill>
          <a:latin typeface="+mn-lt"/>
          <a:cs typeface="+mn-cs"/>
        </a:defRPr>
      </a:lvl2pPr>
      <a:lvl3pPr marL="1281160" indent="-2957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426">
          <a:solidFill>
            <a:schemeClr val="tx1"/>
          </a:solidFill>
          <a:latin typeface="+mn-lt"/>
          <a:cs typeface="+mn-cs"/>
        </a:defRPr>
      </a:lvl3pPr>
      <a:lvl4pPr marL="1835980" indent="-252032" algn="l" rtl="0" eaLnBrk="0" fontAlgn="base" hangingPunct="0">
        <a:spcBef>
          <a:spcPct val="20000"/>
        </a:spcBef>
        <a:spcAft>
          <a:spcPct val="0"/>
        </a:spcAft>
        <a:buChar char="–"/>
        <a:defRPr sz="2205">
          <a:solidFill>
            <a:schemeClr val="tx1"/>
          </a:solidFill>
          <a:latin typeface="+mn-lt"/>
          <a:cs typeface="+mn-cs"/>
        </a:defRPr>
      </a:lvl4pPr>
      <a:lvl5pPr marL="2285786" indent="-252032" algn="l" rtl="0" eaLnBrk="0" fontAlgn="base" hangingPunct="0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5pPr>
      <a:lvl6pPr marL="2789849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6pPr>
      <a:lvl7pPr marL="3293912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7pPr>
      <a:lvl8pPr marL="3797975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8pPr>
      <a:lvl9pPr marL="4302038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8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9249549" y="2181148"/>
            <a:ext cx="222016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Last Modified 25.04.2014 19:06 Russian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9374561" y="4626564"/>
            <a:ext cx="1970091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Printed 24.04.2014 20:59 Russian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92390" y="2194803"/>
            <a:ext cx="5012414" cy="1384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7506" y="328097"/>
            <a:ext cx="907203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7505" y="30360"/>
            <a:ext cx="9762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8743" y="1043737"/>
            <a:ext cx="10041473" cy="2769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8721" y="6908302"/>
            <a:ext cx="9960091" cy="171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8720" y="7253206"/>
            <a:ext cx="7995817" cy="171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98218" indent="-698218" defTabSz="1025505" fontAlgn="base">
              <a:spcBef>
                <a:spcPct val="0"/>
              </a:spcBef>
              <a:spcAft>
                <a:spcPct val="0"/>
              </a:spcAft>
              <a:tabLst>
                <a:tab pos="701853" algn="l"/>
              </a:tabLst>
            </a:pPr>
            <a:r>
              <a:rPr lang="ru-RU" sz="11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92396" y="1267949"/>
            <a:ext cx="4968023" cy="57147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8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8720" y="7116588"/>
            <a:ext cx="1015297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4730" tIns="104730" rIns="104730" bIns="104730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47506" y="994716"/>
            <a:ext cx="10145977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4730" tIns="104730" rIns="104730" bIns="104730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9956399" y="7239811"/>
            <a:ext cx="243222" cy="1714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737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7" r:id="rId6"/>
  </p:sldLayoutIdLst>
  <p:hf hdr="0" dt="0"/>
  <p:txStyles>
    <p:titleStyle>
      <a:lvl1pPr algn="l" defTabSz="1025505" rtl="0" eaLnBrk="1" fontAlgn="base" hangingPunct="1">
        <a:spcBef>
          <a:spcPct val="0"/>
        </a:spcBef>
        <a:spcAft>
          <a:spcPct val="0"/>
        </a:spcAft>
        <a:tabLst>
          <a:tab pos="409112" algn="l"/>
        </a:tabLs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523649"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1047326"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570989"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2094651" algn="l" defTabSz="1025505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21831" indent="-220013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>
          <a:solidFill>
            <a:schemeClr val="tx1"/>
          </a:solidFill>
          <a:latin typeface="+mn-lt"/>
        </a:defRPr>
      </a:lvl2pPr>
      <a:lvl3pPr marL="523649" indent="-30001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+mn-lt"/>
        </a:defRPr>
      </a:lvl3pPr>
      <a:lvl4pPr marL="703674" indent="-178194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+mn-lt"/>
        </a:defRPr>
      </a:lvl4pPr>
      <a:lvl5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5pPr>
      <a:lvl6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6pPr>
      <a:lvl7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7pPr>
      <a:lvl8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8pPr>
      <a:lvl9pPr marL="858807" indent="-149097" algn="l" defTabSz="102550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3649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7326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70989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94651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18313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41975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65637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89302" algn="l" defTabSz="104732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31330" y="7109703"/>
            <a:ext cx="716005" cy="41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426" b="1">
                <a:solidFill>
                  <a:schemeClr val="hlink"/>
                </a:solidFill>
              </a:defRPr>
            </a:lvl1pPr>
          </a:lstStyle>
          <a:p>
            <a:pPr defTabSz="1008126" fontAlgn="base">
              <a:spcBef>
                <a:spcPct val="0"/>
              </a:spcBef>
              <a:spcAft>
                <a:spcPct val="0"/>
              </a:spcAft>
              <a:defRPr/>
            </a:pPr>
            <a:fld id="{20D031E2-01F5-4873-8D46-F8383E013BB0}" type="slidenum">
              <a:rPr lang="ru-RU" altLang="ru-RU" smtClean="0">
                <a:solidFill>
                  <a:srgbClr val="003274"/>
                </a:solidFill>
              </a:rPr>
              <a:pPr defTabSz="100812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741" y="1240958"/>
            <a:ext cx="9619847" cy="5676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34741" y="1"/>
            <a:ext cx="8715325" cy="1060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1303" y="117270"/>
            <a:ext cx="1013283" cy="866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9616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220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99525" indent="-19952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764">
          <a:solidFill>
            <a:schemeClr val="tx1"/>
          </a:solidFill>
          <a:latin typeface="+mn-lt"/>
          <a:ea typeface="+mn-ea"/>
          <a:cs typeface="+mn-cs"/>
        </a:defRPr>
      </a:lvl1pPr>
      <a:lvl2pPr marL="397300" indent="-19602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44">
          <a:solidFill>
            <a:schemeClr val="tx1"/>
          </a:solidFill>
          <a:latin typeface="+mn-lt"/>
          <a:cs typeface="+mn-cs"/>
        </a:defRPr>
      </a:lvl2pPr>
      <a:lvl3pPr marL="1281160" indent="-2957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426">
          <a:solidFill>
            <a:schemeClr val="tx1"/>
          </a:solidFill>
          <a:latin typeface="+mn-lt"/>
          <a:cs typeface="+mn-cs"/>
        </a:defRPr>
      </a:lvl3pPr>
      <a:lvl4pPr marL="1835980" indent="-252032" algn="l" rtl="0" eaLnBrk="0" fontAlgn="base" hangingPunct="0">
        <a:spcBef>
          <a:spcPct val="20000"/>
        </a:spcBef>
        <a:spcAft>
          <a:spcPct val="0"/>
        </a:spcAft>
        <a:buChar char="–"/>
        <a:defRPr sz="2205">
          <a:solidFill>
            <a:schemeClr val="tx1"/>
          </a:solidFill>
          <a:latin typeface="+mn-lt"/>
          <a:cs typeface="+mn-cs"/>
        </a:defRPr>
      </a:lvl4pPr>
      <a:lvl5pPr marL="2285786" indent="-252032" algn="l" rtl="0" eaLnBrk="0" fontAlgn="base" hangingPunct="0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5pPr>
      <a:lvl6pPr marL="2789849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6pPr>
      <a:lvl7pPr marL="3293912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7pPr>
      <a:lvl8pPr marL="3797975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8pPr>
      <a:lvl9pPr marL="4302038" indent="-252032" algn="l" rtl="0" fontAlgn="base">
        <a:spcBef>
          <a:spcPct val="20000"/>
        </a:spcBef>
        <a:spcAft>
          <a:spcPct val="0"/>
        </a:spcAft>
        <a:buChar char="»"/>
        <a:defRPr sz="220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84960" cy="178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960" cy="1785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9262351" y="2186510"/>
            <a:ext cx="2194512" cy="96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0812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30" dirty="0">
                <a:solidFill>
                  <a:srgbClr val="000000"/>
                </a:solidFill>
              </a:rPr>
              <a:t>Last Modified 12.9.2014 2:19 PM Russia TZ 2 Standard Time</a:t>
            </a:r>
            <a:endParaRPr lang="ru-RU" sz="1260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9373759" y="4631936"/>
            <a:ext cx="1971694" cy="96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0812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3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26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92385" y="2194803"/>
            <a:ext cx="5012414" cy="1384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35290" y="371724"/>
            <a:ext cx="7784251" cy="32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35288" y="30359"/>
            <a:ext cx="965008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008126" fontAlgn="base">
              <a:spcBef>
                <a:spcPct val="0"/>
              </a:spcBef>
              <a:spcAft>
                <a:spcPct val="0"/>
              </a:spcAft>
            </a:pPr>
            <a:r>
              <a:rPr lang="ru-RU" sz="1575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8720" y="1043737"/>
            <a:ext cx="10041473" cy="266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33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8721" y="6910017"/>
            <a:ext cx="9960091" cy="169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3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8720" y="7253206"/>
            <a:ext cx="7995817" cy="169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85727" indent="-685727" defTabSz="1007162" fontAlgn="base">
              <a:spcBef>
                <a:spcPct val="0"/>
              </a:spcBef>
              <a:spcAft>
                <a:spcPct val="0"/>
              </a:spcAft>
              <a:tabLst>
                <a:tab pos="689299" algn="l"/>
              </a:tabLst>
            </a:pPr>
            <a:r>
              <a:rPr lang="ru-RU" sz="1103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92385" y="1287595"/>
            <a:ext cx="4968024" cy="551826"/>
            <a:chOff x="915" y="721"/>
            <a:chExt cx="2686" cy="30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1"/>
              <a:ext cx="2686" cy="3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008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33" b="1" dirty="0">
                  <a:solidFill>
                    <a:srgbClr val="000000"/>
                  </a:solidFill>
                </a:rPr>
                <a:t>Title</a:t>
              </a:r>
            </a:p>
            <a:p>
              <a:pPr defTabSz="100812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3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8720" y="7116589"/>
            <a:ext cx="10152973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2863" tIns="102863" rIns="102863" bIns="102863" anchor="ctr"/>
          <a:lstStyle/>
          <a:p>
            <a:pPr defTabSz="100812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969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47506" y="994715"/>
            <a:ext cx="10145977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102863" tIns="102863" rIns="102863" bIns="102863" anchor="ctr"/>
          <a:lstStyle/>
          <a:p>
            <a:pPr defTabSz="100812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969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338339" y="46806"/>
            <a:ext cx="1033925" cy="883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05" y="131204"/>
            <a:ext cx="1167803" cy="809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7683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</p:sldLayoutIdLst>
  <p:hf hdr="0" dt="0"/>
  <p:txStyles>
    <p:titleStyle>
      <a:lvl1pPr algn="l" defTabSz="1007162" rtl="0" eaLnBrk="1" fontAlgn="base" hangingPunct="1">
        <a:spcBef>
          <a:spcPct val="0"/>
        </a:spcBef>
        <a:spcAft>
          <a:spcPct val="0"/>
        </a:spcAft>
        <a:tabLst>
          <a:tab pos="401794" algn="l"/>
        </a:tabLst>
        <a:defRPr sz="212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07162" rtl="0" eaLnBrk="1" fontAlgn="base" hangingPunct="1">
        <a:spcBef>
          <a:spcPct val="0"/>
        </a:spcBef>
        <a:spcAft>
          <a:spcPct val="0"/>
        </a:spcAft>
        <a:defRPr sz="2126" b="1">
          <a:solidFill>
            <a:schemeClr val="tx2"/>
          </a:solidFill>
          <a:latin typeface="Arial" charset="0"/>
        </a:defRPr>
      </a:lvl2pPr>
      <a:lvl3pPr algn="l" defTabSz="1007162" rtl="0" eaLnBrk="1" fontAlgn="base" hangingPunct="1">
        <a:spcBef>
          <a:spcPct val="0"/>
        </a:spcBef>
        <a:spcAft>
          <a:spcPct val="0"/>
        </a:spcAft>
        <a:defRPr sz="2126" b="1">
          <a:solidFill>
            <a:schemeClr val="tx2"/>
          </a:solidFill>
          <a:latin typeface="Arial" charset="0"/>
        </a:defRPr>
      </a:lvl3pPr>
      <a:lvl4pPr algn="l" defTabSz="1007162" rtl="0" eaLnBrk="1" fontAlgn="base" hangingPunct="1">
        <a:spcBef>
          <a:spcPct val="0"/>
        </a:spcBef>
        <a:spcAft>
          <a:spcPct val="0"/>
        </a:spcAft>
        <a:defRPr sz="2126" b="1">
          <a:solidFill>
            <a:schemeClr val="tx2"/>
          </a:solidFill>
          <a:latin typeface="Arial" charset="0"/>
        </a:defRPr>
      </a:lvl4pPr>
      <a:lvl5pPr algn="l" defTabSz="1007162" rtl="0" eaLnBrk="1" fontAlgn="base" hangingPunct="1">
        <a:spcBef>
          <a:spcPct val="0"/>
        </a:spcBef>
        <a:spcAft>
          <a:spcPct val="0"/>
        </a:spcAft>
        <a:defRPr sz="2126" b="1">
          <a:solidFill>
            <a:schemeClr val="tx2"/>
          </a:solidFill>
          <a:latin typeface="Arial" charset="0"/>
        </a:defRPr>
      </a:lvl5pPr>
      <a:lvl6pPr marL="514295" algn="l" defTabSz="1007162" rtl="0" eaLnBrk="1" fontAlgn="base" hangingPunct="1">
        <a:spcBef>
          <a:spcPct val="0"/>
        </a:spcBef>
        <a:spcAft>
          <a:spcPct val="0"/>
        </a:spcAft>
        <a:defRPr sz="2126" b="1">
          <a:solidFill>
            <a:schemeClr val="tx2"/>
          </a:solidFill>
          <a:latin typeface="Arial" charset="0"/>
        </a:defRPr>
      </a:lvl6pPr>
      <a:lvl7pPr marL="1028591" algn="l" defTabSz="1007162" rtl="0" eaLnBrk="1" fontAlgn="base" hangingPunct="1">
        <a:spcBef>
          <a:spcPct val="0"/>
        </a:spcBef>
        <a:spcAft>
          <a:spcPct val="0"/>
        </a:spcAft>
        <a:defRPr sz="2126" b="1">
          <a:solidFill>
            <a:schemeClr val="tx2"/>
          </a:solidFill>
          <a:latin typeface="Arial" charset="0"/>
        </a:defRPr>
      </a:lvl7pPr>
      <a:lvl8pPr marL="1542886" algn="l" defTabSz="1007162" rtl="0" eaLnBrk="1" fontAlgn="base" hangingPunct="1">
        <a:spcBef>
          <a:spcPct val="0"/>
        </a:spcBef>
        <a:spcAft>
          <a:spcPct val="0"/>
        </a:spcAft>
        <a:defRPr sz="2126" b="1">
          <a:solidFill>
            <a:schemeClr val="tx2"/>
          </a:solidFill>
          <a:latin typeface="Arial" charset="0"/>
        </a:defRPr>
      </a:lvl8pPr>
      <a:lvl9pPr marL="2057182" algn="l" defTabSz="1007162" rtl="0" eaLnBrk="1" fontAlgn="base" hangingPunct="1">
        <a:spcBef>
          <a:spcPct val="0"/>
        </a:spcBef>
        <a:spcAft>
          <a:spcPct val="0"/>
        </a:spcAft>
        <a:defRPr sz="2126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071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33">
          <a:solidFill>
            <a:schemeClr val="tx1"/>
          </a:solidFill>
          <a:latin typeface="+mn-lt"/>
          <a:ea typeface="+mn-ea"/>
          <a:cs typeface="+mn-cs"/>
        </a:defRPr>
      </a:lvl1pPr>
      <a:lvl2pPr marL="217862" indent="-216076" algn="l" defTabSz="10071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33">
          <a:solidFill>
            <a:schemeClr val="tx1"/>
          </a:solidFill>
          <a:latin typeface="+mn-lt"/>
        </a:defRPr>
      </a:lvl2pPr>
      <a:lvl3pPr marL="514295" indent="-294649" algn="l" defTabSz="10071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33">
          <a:solidFill>
            <a:schemeClr val="tx1"/>
          </a:solidFill>
          <a:latin typeface="+mn-lt"/>
        </a:defRPr>
      </a:lvl3pPr>
      <a:lvl4pPr marL="691086" indent="-175003" algn="l" defTabSz="10071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33">
          <a:solidFill>
            <a:schemeClr val="tx1"/>
          </a:solidFill>
          <a:latin typeface="+mn-lt"/>
        </a:defRPr>
      </a:lvl4pPr>
      <a:lvl5pPr marL="843445" indent="-146432" algn="l" defTabSz="10071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33">
          <a:solidFill>
            <a:schemeClr val="tx1"/>
          </a:solidFill>
          <a:latin typeface="+mn-lt"/>
        </a:defRPr>
      </a:lvl5pPr>
      <a:lvl6pPr marL="843445" indent="-146432" algn="l" defTabSz="10071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33">
          <a:solidFill>
            <a:schemeClr val="tx1"/>
          </a:solidFill>
          <a:latin typeface="+mn-lt"/>
        </a:defRPr>
      </a:lvl6pPr>
      <a:lvl7pPr marL="843445" indent="-146432" algn="l" defTabSz="10071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33">
          <a:solidFill>
            <a:schemeClr val="tx1"/>
          </a:solidFill>
          <a:latin typeface="+mn-lt"/>
        </a:defRPr>
      </a:lvl7pPr>
      <a:lvl8pPr marL="843445" indent="-146432" algn="l" defTabSz="10071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33">
          <a:solidFill>
            <a:schemeClr val="tx1"/>
          </a:solidFill>
          <a:latin typeface="+mn-lt"/>
        </a:defRPr>
      </a:lvl8pPr>
      <a:lvl9pPr marL="843445" indent="-146432" algn="l" defTabSz="10071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28591" rtl="0" eaLnBrk="1" latinLnBrk="0" hangingPunct="1">
        <a:defRPr sz="1969" kern="1200">
          <a:solidFill>
            <a:schemeClr val="tx1"/>
          </a:solidFill>
          <a:latin typeface="+mn-lt"/>
          <a:ea typeface="+mn-ea"/>
          <a:cs typeface="+mn-cs"/>
        </a:defRPr>
      </a:lvl1pPr>
      <a:lvl2pPr marL="514295" algn="l" defTabSz="1028591" rtl="0" eaLnBrk="1" latinLnBrk="0" hangingPunct="1">
        <a:defRPr sz="1969" kern="1200">
          <a:solidFill>
            <a:schemeClr val="tx1"/>
          </a:solidFill>
          <a:latin typeface="+mn-lt"/>
          <a:ea typeface="+mn-ea"/>
          <a:cs typeface="+mn-cs"/>
        </a:defRPr>
      </a:lvl2pPr>
      <a:lvl3pPr marL="1028591" algn="l" defTabSz="1028591" rtl="0" eaLnBrk="1" latinLnBrk="0" hangingPunct="1">
        <a:defRPr sz="1969" kern="1200">
          <a:solidFill>
            <a:schemeClr val="tx1"/>
          </a:solidFill>
          <a:latin typeface="+mn-lt"/>
          <a:ea typeface="+mn-ea"/>
          <a:cs typeface="+mn-cs"/>
        </a:defRPr>
      </a:lvl3pPr>
      <a:lvl4pPr marL="1542886" algn="l" defTabSz="1028591" rtl="0" eaLnBrk="1" latinLnBrk="0" hangingPunct="1">
        <a:defRPr sz="1969" kern="1200">
          <a:solidFill>
            <a:schemeClr val="tx1"/>
          </a:solidFill>
          <a:latin typeface="+mn-lt"/>
          <a:ea typeface="+mn-ea"/>
          <a:cs typeface="+mn-cs"/>
        </a:defRPr>
      </a:lvl4pPr>
      <a:lvl5pPr marL="2057182" algn="l" defTabSz="1028591" rtl="0" eaLnBrk="1" latinLnBrk="0" hangingPunct="1">
        <a:defRPr sz="1969" kern="1200">
          <a:solidFill>
            <a:schemeClr val="tx1"/>
          </a:solidFill>
          <a:latin typeface="+mn-lt"/>
          <a:ea typeface="+mn-ea"/>
          <a:cs typeface="+mn-cs"/>
        </a:defRPr>
      </a:lvl5pPr>
      <a:lvl6pPr marL="2571477" algn="l" defTabSz="1028591" rtl="0" eaLnBrk="1" latinLnBrk="0" hangingPunct="1">
        <a:defRPr sz="1969" kern="1200">
          <a:solidFill>
            <a:schemeClr val="tx1"/>
          </a:solidFill>
          <a:latin typeface="+mn-lt"/>
          <a:ea typeface="+mn-ea"/>
          <a:cs typeface="+mn-cs"/>
        </a:defRPr>
      </a:lvl6pPr>
      <a:lvl7pPr marL="3085773" algn="l" defTabSz="1028591" rtl="0" eaLnBrk="1" latinLnBrk="0" hangingPunct="1">
        <a:defRPr sz="1969" kern="1200">
          <a:solidFill>
            <a:schemeClr val="tx1"/>
          </a:solidFill>
          <a:latin typeface="+mn-lt"/>
          <a:ea typeface="+mn-ea"/>
          <a:cs typeface="+mn-cs"/>
        </a:defRPr>
      </a:lvl7pPr>
      <a:lvl8pPr marL="3600068" algn="l" defTabSz="1028591" rtl="0" eaLnBrk="1" latinLnBrk="0" hangingPunct="1">
        <a:defRPr sz="1969" kern="1200">
          <a:solidFill>
            <a:schemeClr val="tx1"/>
          </a:solidFill>
          <a:latin typeface="+mn-lt"/>
          <a:ea typeface="+mn-ea"/>
          <a:cs typeface="+mn-cs"/>
        </a:defRPr>
      </a:lvl8pPr>
      <a:lvl9pPr marL="4114364" algn="l" defTabSz="1028591" rtl="0" eaLnBrk="1" latinLnBrk="0" hangingPunct="1">
        <a:defRPr sz="19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31332" y="7109690"/>
            <a:ext cx="716005" cy="416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75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defTabSz="1028609" fontAlgn="base">
              <a:spcBef>
                <a:spcPct val="0"/>
              </a:spcBef>
              <a:spcAft>
                <a:spcPct val="0"/>
              </a:spcAft>
              <a:defRPr/>
            </a:pPr>
            <a:fld id="{3F385F46-FE36-43E0-8AEF-AC9950742405}" type="slidenum">
              <a:rPr lang="ru-RU" smtClean="0">
                <a:solidFill>
                  <a:srgbClr val="003274"/>
                </a:solidFill>
              </a:rPr>
              <a:pPr defTabSz="10286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738" y="1240960"/>
            <a:ext cx="9619848" cy="56761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34739" y="0"/>
            <a:ext cx="8715324" cy="1060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1305" y="117270"/>
            <a:ext cx="1013283" cy="866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10587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5pPr>
      <a:lvl6pPr marL="503965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6pPr>
      <a:lvl7pPr marL="1007930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7pPr>
      <a:lvl8pPr marL="1511895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8pPr>
      <a:lvl9pPr marL="2015859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99486" indent="-19948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397224" indent="-19598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75">
          <a:solidFill>
            <a:schemeClr val="tx1"/>
          </a:solidFill>
          <a:latin typeface="+mn-lt"/>
          <a:cs typeface="+mn-cs"/>
        </a:defRPr>
      </a:lvl2pPr>
      <a:lvl3pPr marL="1280910" indent="-295729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475">
          <a:solidFill>
            <a:schemeClr val="tx1"/>
          </a:solidFill>
          <a:latin typeface="+mn-lt"/>
          <a:cs typeface="+mn-cs"/>
        </a:defRPr>
      </a:lvl3pPr>
      <a:lvl4pPr marL="1835622" indent="-251982" algn="l" rtl="0" eaLnBrk="0" fontAlgn="base" hangingPunct="0">
        <a:spcBef>
          <a:spcPct val="20000"/>
        </a:spcBef>
        <a:spcAft>
          <a:spcPct val="0"/>
        </a:spcAft>
        <a:buChar char="–"/>
        <a:defRPr sz="2250">
          <a:solidFill>
            <a:schemeClr val="tx1"/>
          </a:solidFill>
          <a:latin typeface="+mn-lt"/>
          <a:cs typeface="+mn-cs"/>
        </a:defRPr>
      </a:lvl4pPr>
      <a:lvl5pPr marL="2285341" indent="-251982" algn="l" rtl="0" eaLnBrk="0" fontAlgn="base" hangingPunct="0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5pPr>
      <a:lvl6pPr marL="2789305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6pPr>
      <a:lvl7pPr marL="3293271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7pPr>
      <a:lvl8pPr marL="3797235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8pPr>
      <a:lvl9pPr marL="4301200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03965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07930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11895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15859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19824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23789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527754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031718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31332" y="7109690"/>
            <a:ext cx="716005" cy="416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75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defTabSz="1028609" fontAlgn="base">
              <a:spcBef>
                <a:spcPct val="0"/>
              </a:spcBef>
              <a:spcAft>
                <a:spcPct val="0"/>
              </a:spcAft>
              <a:defRPr/>
            </a:pPr>
            <a:fld id="{3F385F46-FE36-43E0-8AEF-AC9950742405}" type="slidenum">
              <a:rPr lang="ru-RU" smtClean="0">
                <a:solidFill>
                  <a:srgbClr val="003274"/>
                </a:solidFill>
              </a:rPr>
              <a:pPr defTabSz="10286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738" y="1240960"/>
            <a:ext cx="9619848" cy="56761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34739" y="0"/>
            <a:ext cx="8715324" cy="1060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1305" y="117270"/>
            <a:ext cx="1013283" cy="866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00633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5pPr>
      <a:lvl6pPr marL="503965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6pPr>
      <a:lvl7pPr marL="1007930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7pPr>
      <a:lvl8pPr marL="1511895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8pPr>
      <a:lvl9pPr marL="2015859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99486" indent="-19948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397224" indent="-19598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75">
          <a:solidFill>
            <a:schemeClr val="tx1"/>
          </a:solidFill>
          <a:latin typeface="+mn-lt"/>
          <a:cs typeface="+mn-cs"/>
        </a:defRPr>
      </a:lvl2pPr>
      <a:lvl3pPr marL="1280910" indent="-295729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475">
          <a:solidFill>
            <a:schemeClr val="tx1"/>
          </a:solidFill>
          <a:latin typeface="+mn-lt"/>
          <a:cs typeface="+mn-cs"/>
        </a:defRPr>
      </a:lvl3pPr>
      <a:lvl4pPr marL="1835622" indent="-251982" algn="l" rtl="0" eaLnBrk="0" fontAlgn="base" hangingPunct="0">
        <a:spcBef>
          <a:spcPct val="20000"/>
        </a:spcBef>
        <a:spcAft>
          <a:spcPct val="0"/>
        </a:spcAft>
        <a:buChar char="–"/>
        <a:defRPr sz="2250">
          <a:solidFill>
            <a:schemeClr val="tx1"/>
          </a:solidFill>
          <a:latin typeface="+mn-lt"/>
          <a:cs typeface="+mn-cs"/>
        </a:defRPr>
      </a:lvl4pPr>
      <a:lvl5pPr marL="2285341" indent="-251982" algn="l" rtl="0" eaLnBrk="0" fontAlgn="base" hangingPunct="0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5pPr>
      <a:lvl6pPr marL="2789305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6pPr>
      <a:lvl7pPr marL="3293271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7pPr>
      <a:lvl8pPr marL="3797235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8pPr>
      <a:lvl9pPr marL="4301200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03965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07930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11895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15859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19824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23789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527754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031718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31332" y="7109690"/>
            <a:ext cx="716005" cy="416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475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defTabSz="1028609" fontAlgn="base">
              <a:spcBef>
                <a:spcPct val="0"/>
              </a:spcBef>
              <a:spcAft>
                <a:spcPct val="0"/>
              </a:spcAft>
              <a:defRPr/>
            </a:pPr>
            <a:fld id="{3F385F46-FE36-43E0-8AEF-AC9950742405}" type="slidenum">
              <a:rPr lang="ru-RU" smtClean="0">
                <a:solidFill>
                  <a:srgbClr val="003274"/>
                </a:solidFill>
              </a:rPr>
              <a:pPr defTabSz="102860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4738" y="1240960"/>
            <a:ext cx="9619848" cy="56761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34739" y="0"/>
            <a:ext cx="8715324" cy="106067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1305" y="117270"/>
            <a:ext cx="1013283" cy="8663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66309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5pPr>
      <a:lvl6pPr marL="503965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6pPr>
      <a:lvl7pPr marL="1007930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7pPr>
      <a:lvl8pPr marL="1511895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8pPr>
      <a:lvl9pPr marL="2015859" algn="l" rtl="0" fontAlgn="base">
        <a:spcBef>
          <a:spcPct val="0"/>
        </a:spcBef>
        <a:spcAft>
          <a:spcPct val="0"/>
        </a:spcAft>
        <a:defRPr sz="225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99486" indent="-19948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397224" indent="-19598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575">
          <a:solidFill>
            <a:schemeClr val="tx1"/>
          </a:solidFill>
          <a:latin typeface="+mn-lt"/>
          <a:cs typeface="+mn-cs"/>
        </a:defRPr>
      </a:lvl2pPr>
      <a:lvl3pPr marL="1280910" indent="-295729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475">
          <a:solidFill>
            <a:schemeClr val="tx1"/>
          </a:solidFill>
          <a:latin typeface="+mn-lt"/>
          <a:cs typeface="+mn-cs"/>
        </a:defRPr>
      </a:lvl3pPr>
      <a:lvl4pPr marL="1835622" indent="-251982" algn="l" rtl="0" eaLnBrk="0" fontAlgn="base" hangingPunct="0">
        <a:spcBef>
          <a:spcPct val="20000"/>
        </a:spcBef>
        <a:spcAft>
          <a:spcPct val="0"/>
        </a:spcAft>
        <a:buChar char="–"/>
        <a:defRPr sz="2250">
          <a:solidFill>
            <a:schemeClr val="tx1"/>
          </a:solidFill>
          <a:latin typeface="+mn-lt"/>
          <a:cs typeface="+mn-cs"/>
        </a:defRPr>
      </a:lvl4pPr>
      <a:lvl5pPr marL="2285341" indent="-251982" algn="l" rtl="0" eaLnBrk="0" fontAlgn="base" hangingPunct="0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5pPr>
      <a:lvl6pPr marL="2789305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6pPr>
      <a:lvl7pPr marL="3293271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7pPr>
      <a:lvl8pPr marL="3797235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8pPr>
      <a:lvl9pPr marL="4301200" indent="-251982" algn="l" rtl="0" fontAlgn="base">
        <a:spcBef>
          <a:spcPct val="20000"/>
        </a:spcBef>
        <a:spcAft>
          <a:spcPct val="0"/>
        </a:spcAft>
        <a:buChar char="»"/>
        <a:defRPr sz="225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1pPr>
      <a:lvl2pPr marL="503965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07930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11895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15859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19824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23789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527754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031718" algn="l" defTabSz="1007930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1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10" Type="http://schemas.openxmlformats.org/officeDocument/2006/relationships/image" Target="../media/image24.emf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26378" y="56772"/>
            <a:ext cx="10192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dk1"/>
                </a:solidFill>
                <a:latin typeface="+mj-lt"/>
              </a:rPr>
              <a:t>Рабочая группа проекта </a:t>
            </a:r>
            <a:r>
              <a:rPr lang="ru-RU" sz="1600" b="1" dirty="0" smtClean="0">
                <a:solidFill>
                  <a:schemeClr val="dk1"/>
                </a:solidFill>
                <a:latin typeface="+mj-lt"/>
              </a:rPr>
              <a:t>«Совершенствование процесса поиска персонала для работы в МБУЗ ДГБ г. Шахты» </a:t>
            </a:r>
            <a:endParaRPr lang="ru-RU" sz="1600" b="1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B40EF663-AE6B-4EBB-BD3F-D4EA591D64A2}"/>
              </a:ext>
            </a:extLst>
          </p:cNvPr>
          <p:cNvSpPr/>
          <p:nvPr/>
        </p:nvSpPr>
        <p:spPr>
          <a:xfrm>
            <a:off x="5562842" y="6228903"/>
            <a:ext cx="1457852" cy="82761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noProof="0" dirty="0" err="1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Лущева</a:t>
            </a:r>
            <a:r>
              <a:rPr lang="ru-RU" sz="1000" kern="0" noProof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 Елизавета Витальевна</a:t>
            </a:r>
            <a:endParaRPr kumimoji="0" lang="ru-RU" sz="1000" b="0" u="none" strike="noStrike" kern="0" cap="none" spc="0" normalizeH="0" baseline="0" noProof="0" dirty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noProof="0" dirty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Моб.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88940371</a:t>
            </a:r>
            <a:endParaRPr kumimoji="0" lang="ru-RU" sz="1000" b="0" i="0" u="none" strike="noStrike" kern="0" cap="none" spc="0" normalizeH="0" baseline="0" noProof="0" dirty="0" smtClean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 smtClean="0">
                <a:solidFill>
                  <a:srgbClr val="414142">
                    <a:lumMod val="50000"/>
                  </a:srgbClr>
                </a:solidFill>
                <a:cs typeface="Arial"/>
              </a:rPr>
              <a:t>dgbshakhty@mail.ru</a:t>
            </a:r>
            <a:endParaRPr lang="en-US" sz="1000" kern="0" dirty="0">
              <a:solidFill>
                <a:srgbClr val="414142">
                  <a:lumMod val="50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="" xmlns:a16="http://schemas.microsoft.com/office/drawing/2014/main" id="{B40EF663-AE6B-4EBB-BD3F-D4EA591D64A2}"/>
              </a:ext>
            </a:extLst>
          </p:cNvPr>
          <p:cNvSpPr/>
          <p:nvPr/>
        </p:nvSpPr>
        <p:spPr>
          <a:xfrm>
            <a:off x="3240988" y="6228903"/>
            <a:ext cx="1412310" cy="82761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noProof="0" dirty="0" err="1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Кузьмиченко</a:t>
            </a:r>
            <a:r>
              <a:rPr lang="ru-RU" sz="1000" kern="0" noProof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 Татьяна Сергеевна</a:t>
            </a:r>
            <a:endParaRPr kumimoji="0" lang="ru-RU" sz="1000" b="0" i="0" u="none" strike="noStrike" kern="0" cap="none" spc="0" normalizeH="0" baseline="0" noProof="0" dirty="0" smtClean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noProof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Моб</a:t>
            </a:r>
            <a:r>
              <a:rPr lang="ru-RU" sz="1000" kern="0" noProof="0" dirty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.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9381659849</a:t>
            </a:r>
          </a:p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 err="1" smtClean="0">
                <a:solidFill>
                  <a:srgbClr val="414142">
                    <a:lumMod val="50000"/>
                  </a:srgbClr>
                </a:solidFill>
                <a:cs typeface="Arial"/>
              </a:rPr>
              <a:t>dgbshakhty</a:t>
            </a:r>
            <a:r>
              <a:rPr lang="ru-RU" sz="1000" kern="0" dirty="0">
                <a:solidFill>
                  <a:srgbClr val="414142">
                    <a:lumMod val="50000"/>
                  </a:srgbClr>
                </a:solidFill>
                <a:cs typeface="Arial"/>
              </a:rPr>
              <a:t>1</a:t>
            </a:r>
            <a:r>
              <a:rPr lang="en-US" sz="1000" kern="0" dirty="0" smtClean="0">
                <a:solidFill>
                  <a:srgbClr val="414142">
                    <a:lumMod val="50000"/>
                  </a:srgbClr>
                </a:solidFill>
                <a:cs typeface="Arial"/>
              </a:rPr>
              <a:t>@mail.ru</a:t>
            </a:r>
            <a:endParaRPr lang="ru-RU" sz="1000" kern="0" dirty="0">
              <a:solidFill>
                <a:srgbClr val="414142">
                  <a:lumMod val="50000"/>
                </a:srgbClr>
              </a:solidFill>
              <a:cs typeface="Arial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="" xmlns:a16="http://schemas.microsoft.com/office/drawing/2014/main" id="{B40EF663-AE6B-4EBB-BD3F-D4EA591D64A2}"/>
              </a:ext>
            </a:extLst>
          </p:cNvPr>
          <p:cNvSpPr/>
          <p:nvPr/>
        </p:nvSpPr>
        <p:spPr>
          <a:xfrm>
            <a:off x="7998405" y="6228903"/>
            <a:ext cx="1470561" cy="82761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Котлярова </a:t>
            </a:r>
            <a:r>
              <a:rPr lang="ru-RU" sz="1000" kern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Наталья Витальевна</a:t>
            </a:r>
            <a:endParaRPr kumimoji="0" lang="ru-RU" sz="1000" b="0" i="0" u="none" strike="noStrike" kern="0" cap="none" spc="0" normalizeH="0" baseline="0" noProof="0" dirty="0" smtClean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noProof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Моб.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9885443406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 err="1" smtClean="0">
                <a:solidFill>
                  <a:srgbClr val="414142">
                    <a:lumMod val="50000"/>
                  </a:srgbClr>
                </a:solidFill>
                <a:cs typeface="Arial"/>
              </a:rPr>
              <a:t>dgbshakhty</a:t>
            </a:r>
            <a:r>
              <a:rPr lang="ru-RU" sz="1000" kern="0" dirty="0" smtClean="0">
                <a:solidFill>
                  <a:srgbClr val="414142">
                    <a:lumMod val="50000"/>
                  </a:srgbClr>
                </a:solidFill>
                <a:cs typeface="Arial"/>
              </a:rPr>
              <a:t>4</a:t>
            </a:r>
            <a:r>
              <a:rPr lang="en-US" sz="1000" kern="0" dirty="0" smtClean="0">
                <a:solidFill>
                  <a:srgbClr val="414142">
                    <a:lumMod val="50000"/>
                  </a:srgbClr>
                </a:solidFill>
                <a:cs typeface="Arial"/>
              </a:rPr>
              <a:t>@mail.ru</a:t>
            </a:r>
            <a:endParaRPr lang="ru-RU" sz="1000" kern="0" dirty="0">
              <a:solidFill>
                <a:srgbClr val="414142">
                  <a:lumMod val="50000"/>
                </a:srgbClr>
              </a:solidFill>
              <a:cs typeface="Arial"/>
            </a:endParaRPr>
          </a:p>
        </p:txBody>
      </p:sp>
      <p:sp>
        <p:nvSpPr>
          <p:cNvPr id="49" name="Rectangle 6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201175" y="845696"/>
            <a:ext cx="1039813" cy="38100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lIns="57147" tIns="57147" rIns="57147" bIns="57147"/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80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dirty="0"/>
              <a:t>Руководитель</a:t>
            </a:r>
            <a:br>
              <a:rPr lang="ru-RU" sz="900" dirty="0"/>
            </a:br>
            <a:r>
              <a:rPr lang="ru-RU" sz="900" dirty="0"/>
              <a:t> проекта</a:t>
            </a:r>
            <a:endParaRPr lang="en-US" sz="900" dirty="0"/>
          </a:p>
        </p:txBody>
      </p:sp>
      <p:sp>
        <p:nvSpPr>
          <p:cNvPr id="87" name="TextBox 86"/>
          <p:cNvSpPr txBox="1">
            <a:spLocks/>
          </p:cNvSpPr>
          <p:nvPr/>
        </p:nvSpPr>
        <p:spPr>
          <a:xfrm>
            <a:off x="5929963" y="3130858"/>
            <a:ext cx="1376941" cy="11310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defRPr/>
            </a:pPr>
            <a:r>
              <a:rPr lang="ru-RU" sz="1050" dirty="0"/>
              <a:t>Дорофеев Евгений Викторович</a:t>
            </a:r>
          </a:p>
          <a:p>
            <a:pPr algn="ctr">
              <a:defRPr/>
            </a:pPr>
            <a:r>
              <a:rPr lang="ru-RU" sz="1050" dirty="0"/>
              <a:t>Руководитель проекта</a:t>
            </a:r>
            <a:br>
              <a:rPr lang="ru-RU" sz="1050" dirty="0"/>
            </a:br>
            <a:r>
              <a:rPr lang="ru-RU" sz="1050" dirty="0"/>
              <a:t>тел. 89852676991</a:t>
            </a:r>
          </a:p>
          <a:p>
            <a:pPr algn="ctr">
              <a:defRPr/>
            </a:pPr>
            <a:r>
              <a:rPr lang="en-US" sz="1050" dirty="0" err="1"/>
              <a:t>dorofeev</a:t>
            </a:r>
            <a:r>
              <a:rPr lang="en-US" sz="1050" dirty="0"/>
              <a:t>@</a:t>
            </a:r>
            <a:br>
              <a:rPr lang="en-US" sz="1050" dirty="0"/>
            </a:br>
            <a:r>
              <a:rPr lang="en-US" sz="1050" dirty="0"/>
              <a:t>ps-rosatom.ru</a:t>
            </a:r>
            <a:endParaRPr lang="en-GB" sz="1050" dirty="0"/>
          </a:p>
        </p:txBody>
      </p:sp>
      <p:sp>
        <p:nvSpPr>
          <p:cNvPr id="88" name="Rectangle 68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774950" y="907239"/>
            <a:ext cx="2318968" cy="31945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wrap="none" lIns="57147" tIns="57147" rIns="57147" bIns="57147" anchor="ctr"/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defRPr sz="80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dirty="0"/>
              <a:t>Эксперты </a:t>
            </a:r>
            <a:r>
              <a:rPr lang="ru-RU" sz="900" dirty="0" err="1"/>
              <a:t>Росатом</a:t>
            </a:r>
            <a:endParaRPr lang="en-US" sz="900" dirty="0"/>
          </a:p>
        </p:txBody>
      </p:sp>
      <p:sp>
        <p:nvSpPr>
          <p:cNvPr id="92" name="TextBox 91"/>
          <p:cNvSpPr txBox="1">
            <a:spLocks/>
          </p:cNvSpPr>
          <p:nvPr/>
        </p:nvSpPr>
        <p:spPr>
          <a:xfrm>
            <a:off x="8812327" y="2345337"/>
            <a:ext cx="1041400" cy="10387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defRPr/>
            </a:pPr>
            <a:endParaRPr lang="en-GB" sz="675" dirty="0"/>
          </a:p>
        </p:txBody>
      </p:sp>
      <p:pic>
        <p:nvPicPr>
          <p:cNvPr id="93" name="Рисунок 50"/>
          <p:cNvPicPr>
            <a:picLocks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961" r="5985"/>
          <a:stretch/>
        </p:blipFill>
        <p:spPr bwMode="auto">
          <a:xfrm>
            <a:off x="5934434" y="1403379"/>
            <a:ext cx="1368000" cy="16560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sp>
        <p:nvSpPr>
          <p:cNvPr id="97" name="TextBox 96">
            <a:extLst/>
          </p:cNvPr>
          <p:cNvSpPr txBox="1">
            <a:spLocks/>
          </p:cNvSpPr>
          <p:nvPr/>
        </p:nvSpPr>
        <p:spPr>
          <a:xfrm>
            <a:off x="4516127" y="3130858"/>
            <a:ext cx="1322991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sz="1050" dirty="0"/>
              <a:t>Уваров Максим Сергеевич</a:t>
            </a:r>
          </a:p>
          <a:p>
            <a:pPr algn="ctr">
              <a:defRPr/>
            </a:pPr>
            <a:r>
              <a:rPr lang="ru-RU" sz="1050" dirty="0"/>
              <a:t>Руководитель проекта</a:t>
            </a:r>
            <a:br>
              <a:rPr lang="ru-RU" sz="1050" dirty="0"/>
            </a:br>
            <a:r>
              <a:rPr lang="ru-RU" sz="1050" dirty="0"/>
              <a:t>тел. 89261784408</a:t>
            </a:r>
            <a:br>
              <a:rPr lang="ru-RU" sz="1050" dirty="0"/>
            </a:br>
            <a:r>
              <a:rPr lang="en-US" sz="1050" dirty="0"/>
              <a:t>uvarovms@ps-rosatom.ru</a:t>
            </a:r>
            <a:endParaRPr lang="ru-RU" sz="1050" dirty="0"/>
          </a:p>
          <a:p>
            <a:pPr algn="ctr">
              <a:defRPr/>
            </a:pPr>
            <a:endParaRPr lang="en-GB" sz="1050" dirty="0"/>
          </a:p>
        </p:txBody>
      </p:sp>
      <p:sp>
        <p:nvSpPr>
          <p:cNvPr id="104" name="Прямоугольник 103">
            <a:extLst>
              <a:ext uri="{FF2B5EF4-FFF2-40B4-BE49-F238E27FC236}">
                <a16:creationId xmlns="" xmlns:a16="http://schemas.microsoft.com/office/drawing/2014/main" id="{B40EF663-AE6B-4EBB-BD3F-D4EA591D64A2}"/>
              </a:ext>
            </a:extLst>
          </p:cNvPr>
          <p:cNvSpPr/>
          <p:nvPr/>
        </p:nvSpPr>
        <p:spPr>
          <a:xfrm>
            <a:off x="924117" y="6228903"/>
            <a:ext cx="1416057" cy="82761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noProof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Гришина Наталья Васильевна</a:t>
            </a:r>
            <a:endParaRPr kumimoji="0" lang="ru-RU" sz="1000" b="0" i="0" u="none" strike="noStrike" kern="0" cap="none" spc="0" normalizeH="0" baseline="0" noProof="0" dirty="0" smtClean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Моб. 8</a:t>
            </a:r>
            <a:r>
              <a:rPr lang="en-US" sz="1000" kern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9</a:t>
            </a:r>
            <a:r>
              <a:rPr lang="ru-RU" sz="1000" kern="0" dirty="0" smtClean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885308458</a:t>
            </a:r>
          </a:p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 err="1" smtClean="0">
                <a:solidFill>
                  <a:srgbClr val="414142">
                    <a:lumMod val="50000"/>
                  </a:srgbClr>
                </a:solidFill>
                <a:cs typeface="Arial"/>
              </a:rPr>
              <a:t>dgbshakhty</a:t>
            </a:r>
            <a:r>
              <a:rPr lang="ru-RU" sz="1000" kern="0" dirty="0" smtClean="0">
                <a:solidFill>
                  <a:srgbClr val="414142">
                    <a:lumMod val="50000"/>
                  </a:srgbClr>
                </a:solidFill>
                <a:cs typeface="Arial"/>
              </a:rPr>
              <a:t>4</a:t>
            </a:r>
            <a:r>
              <a:rPr lang="en-US" sz="1000" kern="0" dirty="0" smtClean="0">
                <a:solidFill>
                  <a:srgbClr val="414142">
                    <a:lumMod val="50000"/>
                  </a:srgbClr>
                </a:solidFill>
                <a:cs typeface="Arial"/>
              </a:rPr>
              <a:t>@mail.ru</a:t>
            </a:r>
            <a:endParaRPr lang="ru-RU" sz="1000" kern="0" dirty="0" smtClean="0">
              <a:solidFill>
                <a:srgbClr val="414142">
                  <a:lumMod val="50000"/>
                </a:srgbClr>
              </a:solidFill>
              <a:latin typeface="Arial"/>
              <a:cs typeface="Arial"/>
            </a:endParaRPr>
          </a:p>
        </p:txBody>
      </p:sp>
      <p:grpSp>
        <p:nvGrpSpPr>
          <p:cNvPr id="113" name="Группа 112"/>
          <p:cNvGrpSpPr/>
          <p:nvPr/>
        </p:nvGrpSpPr>
        <p:grpSpPr>
          <a:xfrm>
            <a:off x="2210016" y="1382094"/>
            <a:ext cx="1341265" cy="1691847"/>
            <a:chOff x="850228" y="4284944"/>
            <a:chExt cx="1341265" cy="1691847"/>
          </a:xfrm>
        </p:grpSpPr>
        <p:sp>
          <p:nvSpPr>
            <p:cNvPr id="114" name="Прямоугольник 113"/>
            <p:cNvSpPr/>
            <p:nvPr/>
          </p:nvSpPr>
          <p:spPr>
            <a:xfrm>
              <a:off x="850228" y="4284944"/>
              <a:ext cx="1341265" cy="16918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5" name="Овал 114"/>
            <p:cNvSpPr/>
            <p:nvPr/>
          </p:nvSpPr>
          <p:spPr>
            <a:xfrm>
              <a:off x="1331667" y="4461014"/>
              <a:ext cx="285704" cy="325448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6" name="Равнобедренный треугольник 115"/>
            <p:cNvSpPr/>
            <p:nvPr/>
          </p:nvSpPr>
          <p:spPr>
            <a:xfrm rot="10800000">
              <a:off x="1242951" y="4786462"/>
              <a:ext cx="463135" cy="454795"/>
            </a:xfrm>
            <a:prstGeom prst="triangle">
              <a:avLst/>
            </a:prstGeom>
            <a:solidFill>
              <a:schemeClr val="accent5">
                <a:lumMod val="25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191844" y="5308975"/>
              <a:ext cx="61999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dirty="0"/>
                <a:t>Фото</a:t>
              </a:r>
            </a:p>
          </p:txBody>
        </p:sp>
      </p:grpSp>
      <p:sp>
        <p:nvSpPr>
          <p:cNvPr id="118" name="Прямоугольник 117">
            <a:extLst>
              <a:ext uri="{FF2B5EF4-FFF2-40B4-BE49-F238E27FC236}">
                <a16:creationId xmlns="" xmlns:a16="http://schemas.microsoft.com/office/drawing/2014/main" id="{B40EF663-AE6B-4EBB-BD3F-D4EA591D64A2}"/>
              </a:ext>
            </a:extLst>
          </p:cNvPr>
          <p:cNvSpPr/>
          <p:nvPr/>
        </p:nvSpPr>
        <p:spPr>
          <a:xfrm>
            <a:off x="2210016" y="3222842"/>
            <a:ext cx="1346389" cy="82761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азакова</a:t>
            </a:r>
            <a:r>
              <a:rPr kumimoji="0" lang="ru-RU" sz="1000" b="0" i="0" u="none" strike="noStrike" kern="0" cap="none" spc="0" normalizeH="0" noProof="0" dirty="0" smtClean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Светлана Алексеевна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0" noProof="0" dirty="0">
                <a:solidFill>
                  <a:srgbClr val="414142">
                    <a:lumMod val="50000"/>
                  </a:srgbClr>
                </a:solidFill>
                <a:latin typeface="Arial"/>
                <a:cs typeface="Arial"/>
              </a:rPr>
              <a:t>Моб.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094305683</a:t>
            </a:r>
            <a:endParaRPr lang="en-US" sz="1000" kern="0" dirty="0">
              <a:solidFill>
                <a:srgbClr val="414142">
                  <a:lumMod val="50000"/>
                </a:srgbClr>
              </a:solidFill>
              <a:latin typeface="Arial"/>
              <a:cs typeface="Arial"/>
            </a:endParaRPr>
          </a:p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414142">
                    <a:lumMod val="50000"/>
                  </a:srgbClr>
                </a:solidFill>
                <a:cs typeface="Arial"/>
              </a:rPr>
              <a:t>dgbshakhty@mail.ru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414142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3" name="Рисунок 2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83" t="9836" r="21550" b="41303"/>
          <a:stretch/>
        </p:blipFill>
        <p:spPr>
          <a:xfrm>
            <a:off x="4515328" y="1417941"/>
            <a:ext cx="1368000" cy="1656000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0016" y="1382094"/>
            <a:ext cx="1341265" cy="1691847"/>
          </a:xfrm>
          <a:prstGeom prst="rect">
            <a:avLst/>
          </a:prstGeom>
        </p:spPr>
      </p:pic>
      <p:pic>
        <p:nvPicPr>
          <p:cNvPr id="45" name="Рисунок 44" descr="D:\Документы\Фото медработников ДГБ\портреты детская городская больница\DSC06090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383" y="4399246"/>
            <a:ext cx="1239520" cy="1748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Рисунок 45" descr="D:\Документы\Моя документация\Фото Наташа ВЛАЕР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780" y="4651627"/>
            <a:ext cx="1001395" cy="1416685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Рисунок 46" descr="D:\Документы\Фото медработников ДГБ\портреты детская городская больница\DSC0580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4545" y="4261937"/>
            <a:ext cx="1274445" cy="1911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8" name="Рисунок 47"/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7517" y="4498062"/>
            <a:ext cx="1160780" cy="15506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220023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1.53899999999999990000E+000&quot;&gt;&lt;m_ppcolschidx val=&quot;0&quot;/&gt;&lt;m_rgb r=&quot;b0&quot; g=&quot;e6&quot; b=&quot;b4&quot;/&gt;&lt;/elem&gt;&lt;elem m_fUsage=&quot;1.12193100000000000000E+000&quot;&gt;&lt;m_ppcolschidx val=&quot;0&quot;/&gt;&lt;m_rgb r=&quot;89&quot; g=&quot;db&quot; b=&quot;f5&quot;/&gt;&lt;/elem&gt;&lt;elem m_fUsage=&quot;1.00000000000000000000E+000&quot;&gt;&lt;m_ppcolschidx val=&quot;0&quot;/&gt;&lt;m_rgb r=&quot;fe&quot; g=&quot;34&quot; b=&quot;39&quot;/&gt;&lt;/elem&gt;&lt;elem m_fUsage=&quot;9.00000000000000020000E-001&quot;&gt;&lt;m_ppcolschidx val=&quot;0&quot;/&gt;&lt;m_rgb r=&quot;ef&quot; g=&quot;d2&quot; b=&quot;7c&quot;/&gt;&lt;/elem&gt;&lt;elem m_fUsage=&quot;6.56100000000000130000E-001&quot;&gt;&lt;m_ppcolschidx val=&quot;0&quot;/&gt;&lt;m_rgb r=&quot;c8&quot; g=&quot;94&quot; b=&quot;e4&quot;/&gt;&lt;/elem&gt;&lt;/m_vecMRU&gt;&lt;/m_mruColor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2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kJ1cloLkyNrzu9UPzB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4kZx7Lb0Wf.YdsH5ie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u6TN7tzEe4bgXNv6Aw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PGoi8mwkuUizI72IqN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_OlOOVbkqUe86sTcVn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9XrQvykkaGov3AyFxJ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WZHmOfN0Cwx7MpWiZl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GJyJEpVkmSK.ilD4nY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hVXpkMVEq9EWyMVWYM7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6cba3olEimlx3ijM3N.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otbh.54Eycs0qXl0T1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RkYNY_20iJG5q_L.wA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U15Y5GOUeBQwRWtwZt9A"/>
</p:tagLst>
</file>

<file path=ppt/theme/theme1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57</TotalTime>
  <Words>77</Words>
  <Application>Microsoft Office PowerPoint</Application>
  <PresentationFormat>Произвольный</PresentationFormat>
  <Paragraphs>24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Firm Format - Russian</vt:lpstr>
      <vt:lpstr>b-default</vt:lpstr>
      <vt:lpstr>1_b-default</vt:lpstr>
      <vt:lpstr>1_Firm Format - Russian</vt:lpstr>
      <vt:lpstr>2_b-default</vt:lpstr>
      <vt:lpstr>RDM027</vt:lpstr>
      <vt:lpstr>3_b-default</vt:lpstr>
      <vt:lpstr>4_b-default</vt:lpstr>
      <vt:lpstr>5_b-default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User Windows</cp:lastModifiedBy>
  <cp:revision>642</cp:revision>
  <cp:lastPrinted>2022-09-09T05:11:36Z</cp:lastPrinted>
  <dcterms:created xsi:type="dcterms:W3CDTF">2015-08-25T19:48:33Z</dcterms:created>
  <dcterms:modified xsi:type="dcterms:W3CDTF">2022-09-09T05:11:56Z</dcterms:modified>
</cp:coreProperties>
</file>